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809" r:id="rId5"/>
  </p:sldMasterIdLst>
  <p:notesMasterIdLst>
    <p:notesMasterId r:id="rId11"/>
  </p:notesMasterIdLst>
  <p:handoutMasterIdLst>
    <p:handoutMasterId r:id="rId12"/>
  </p:handoutMasterIdLst>
  <p:sldIdLst>
    <p:sldId id="273" r:id="rId6"/>
    <p:sldId id="319" r:id="rId7"/>
    <p:sldId id="326" r:id="rId8"/>
    <p:sldId id="328" r:id="rId9"/>
    <p:sldId id="321" r:id="rId10"/>
  </p:sldIdLst>
  <p:sldSz cx="12192000" cy="6858000"/>
  <p:notesSz cx="7102475" cy="10234613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916">
          <p15:clr>
            <a:srgbClr val="A4A3A4"/>
          </p15:clr>
        </p15:guide>
        <p15:guide id="3" orient="horz" pos="1674">
          <p15:clr>
            <a:srgbClr val="A4A3A4"/>
          </p15:clr>
        </p15:guide>
        <p15:guide id="4" orient="horz" pos="1440">
          <p15:clr>
            <a:srgbClr val="A4A3A4"/>
          </p15:clr>
        </p15:guide>
        <p15:guide id="5" orient="horz" pos="1199">
          <p15:clr>
            <a:srgbClr val="A4A3A4"/>
          </p15:clr>
        </p15:guide>
        <p15:guide id="6" orient="horz" pos="958">
          <p15:clr>
            <a:srgbClr val="A4A3A4"/>
          </p15:clr>
        </p15:guide>
        <p15:guide id="7" orient="horz" pos="717">
          <p15:clr>
            <a:srgbClr val="A4A3A4"/>
          </p15:clr>
        </p15:guide>
        <p15:guide id="8" orient="horz" pos="476">
          <p15:clr>
            <a:srgbClr val="A4A3A4"/>
          </p15:clr>
        </p15:guide>
        <p15:guide id="9" pos="3840">
          <p15:clr>
            <a:srgbClr val="A4A3A4"/>
          </p15:clr>
        </p15:guide>
        <p15:guide id="10" pos="3597">
          <p15:clr>
            <a:srgbClr val="A4A3A4"/>
          </p15:clr>
        </p15:guide>
        <p15:guide id="11" pos="3356">
          <p15:clr>
            <a:srgbClr val="A4A3A4"/>
          </p15:clr>
        </p15:guide>
        <p15:guide id="12" pos="3121">
          <p15:clr>
            <a:srgbClr val="A4A3A4"/>
          </p15:clr>
        </p15:guide>
        <p15:guide id="13" pos="2880">
          <p15:clr>
            <a:srgbClr val="A4A3A4"/>
          </p15:clr>
        </p15:guide>
        <p15:guide id="14" pos="2639">
          <p15:clr>
            <a:srgbClr val="A4A3A4"/>
          </p15:clr>
        </p15:guide>
        <p15:guide id="15" pos="2399">
          <p15:clr>
            <a:srgbClr val="A4A3A4"/>
          </p15:clr>
        </p15:guide>
        <p15:guide id="16" pos="215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Рубец Ольга Эдуардовна" initials="РОЭ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EFF"/>
    <a:srgbClr val="71D0FF"/>
    <a:srgbClr val="00AAFF"/>
    <a:srgbClr val="ACD3FE"/>
    <a:srgbClr val="94B5FE"/>
    <a:srgbClr val="002882"/>
    <a:srgbClr val="E5F6FF"/>
    <a:srgbClr val="0083C4"/>
    <a:srgbClr val="E7F1FF"/>
    <a:srgbClr val="1636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331" autoAdjust="0"/>
    <p:restoredTop sz="83953" autoAdjust="0"/>
  </p:normalViewPr>
  <p:slideViewPr>
    <p:cSldViewPr snapToGrid="0" snapToObjects="1">
      <p:cViewPr varScale="1">
        <p:scale>
          <a:sx n="97" d="100"/>
          <a:sy n="97" d="100"/>
        </p:scale>
        <p:origin x="864" y="72"/>
      </p:cViewPr>
      <p:guideLst>
        <p:guide orient="horz" pos="2160"/>
        <p:guide orient="horz" pos="1916"/>
        <p:guide orient="horz" pos="1674"/>
        <p:guide orient="horz" pos="1440"/>
        <p:guide orient="horz" pos="1199"/>
        <p:guide orient="horz" pos="958"/>
        <p:guide orient="horz" pos="717"/>
        <p:guide orient="horz" pos="476"/>
        <p:guide pos="3840"/>
        <p:guide pos="3597"/>
        <p:guide pos="3356"/>
        <p:guide pos="3121"/>
        <p:guide pos="2880"/>
        <p:guide pos="2639"/>
        <p:guide pos="2399"/>
        <p:guide pos="215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77739" cy="513508"/>
          </a:xfrm>
          <a:prstGeom prst="rect">
            <a:avLst/>
          </a:prstGeom>
        </p:spPr>
        <p:txBody>
          <a:bodyPr vert="horz" wrap="square" lIns="94767" tIns="47385" rIns="94767" bIns="47385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en-US" alt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6" y="1"/>
            <a:ext cx="3077739" cy="513508"/>
          </a:xfrm>
          <a:prstGeom prst="rect">
            <a:avLst/>
          </a:prstGeom>
        </p:spPr>
        <p:txBody>
          <a:bodyPr vert="horz" wrap="square" lIns="94767" tIns="47385" rIns="94767" bIns="4738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AE577A0F-3CD0-4F73-A2A7-575F71C77F18}" type="datetimeFigureOut">
              <a:rPr lang="en-US" altLang="ru-RU"/>
              <a:pPr/>
              <a:t>5/28/2024</a:t>
            </a:fld>
            <a:endParaRPr lang="en-US" alt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721107"/>
            <a:ext cx="3077739" cy="513507"/>
          </a:xfrm>
          <a:prstGeom prst="rect">
            <a:avLst/>
          </a:prstGeom>
        </p:spPr>
        <p:txBody>
          <a:bodyPr vert="horz" wrap="square" lIns="94767" tIns="47385" rIns="94767" bIns="47385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en-US" alt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6" y="9721107"/>
            <a:ext cx="3077739" cy="513507"/>
          </a:xfrm>
          <a:prstGeom prst="rect">
            <a:avLst/>
          </a:prstGeom>
        </p:spPr>
        <p:txBody>
          <a:bodyPr vert="horz" wrap="square" lIns="94767" tIns="47385" rIns="94767" bIns="4738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1650D67-5342-4FFC-ACBC-BCB885B5D141}" type="slidenum">
              <a:rPr lang="en-US" altLang="ru-RU"/>
              <a:pPr/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9684703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077739" cy="513508"/>
          </a:xfrm>
          <a:prstGeom prst="rect">
            <a:avLst/>
          </a:prstGeom>
        </p:spPr>
        <p:txBody>
          <a:bodyPr vert="horz" wrap="square" lIns="94767" tIns="47385" rIns="94767" bIns="47385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ru-RU" alt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3096" y="1"/>
            <a:ext cx="3077739" cy="513508"/>
          </a:xfrm>
          <a:prstGeom prst="rect">
            <a:avLst/>
          </a:prstGeom>
        </p:spPr>
        <p:txBody>
          <a:bodyPr vert="horz" wrap="square" lIns="94767" tIns="47385" rIns="94767" bIns="4738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EFA03D85-3F3C-4EE0-95DC-5DA0633743FC}" type="datetimeFigureOut">
              <a:rPr lang="ru-RU" altLang="ru-RU"/>
              <a:pPr/>
              <a:t>28/05/2024</a:t>
            </a:fld>
            <a:endParaRPr lang="ru-RU" alt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7" tIns="47385" rIns="94767" bIns="4738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0248" y="4925410"/>
            <a:ext cx="5681980" cy="4029879"/>
          </a:xfrm>
          <a:prstGeom prst="rect">
            <a:avLst/>
          </a:prstGeom>
        </p:spPr>
        <p:txBody>
          <a:bodyPr vert="horz" wrap="square" lIns="94767" tIns="47385" rIns="94767" bIns="473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721107"/>
            <a:ext cx="3077739" cy="513507"/>
          </a:xfrm>
          <a:prstGeom prst="rect">
            <a:avLst/>
          </a:prstGeom>
        </p:spPr>
        <p:txBody>
          <a:bodyPr vert="horz" wrap="square" lIns="94767" tIns="47385" rIns="94767" bIns="47385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ru-RU" alt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3096" y="9721107"/>
            <a:ext cx="3077739" cy="513507"/>
          </a:xfrm>
          <a:prstGeom prst="rect">
            <a:avLst/>
          </a:prstGeom>
        </p:spPr>
        <p:txBody>
          <a:bodyPr vert="horz" wrap="square" lIns="94767" tIns="47385" rIns="94767" bIns="4738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7FB696F-D1F1-4F97-80E6-A92EE15E99A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6698695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5507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519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07292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7302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5858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800" y="152400"/>
            <a:ext cx="3214688" cy="183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8891523" cy="6858000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91522" h="6858000">
                <a:moveTo>
                  <a:pt x="0" y="6858000"/>
                </a:moveTo>
                <a:lnTo>
                  <a:pt x="381" y="0"/>
                </a:lnTo>
                <a:lnTo>
                  <a:pt x="8891522" y="1"/>
                </a:lnTo>
                <a:lnTo>
                  <a:pt x="638501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9" y="1846783"/>
            <a:ext cx="6863371" cy="553998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8" y="2788219"/>
            <a:ext cx="5713413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rgbClr val="00AAFF"/>
                </a:solidFill>
                <a:latin typeface="VTB Group Cond Bold" charset="0"/>
                <a:ea typeface="VTB Group Cond Book" charset="0"/>
                <a:cs typeface="VTB Group Cond Book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BB1F9E-DFED-419F-9B71-45C5EC7D5740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04281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7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90" y="2282826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90" y="1520829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2240" y="2282828"/>
            <a:ext cx="495458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 cap="all" baseline="0">
                <a:solidFill>
                  <a:srgbClr val="002882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4F908846-B271-45D2-818D-809E411A4E0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506005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12"/>
          <p:cNvSpPr/>
          <p:nvPr userDrawn="1"/>
        </p:nvSpPr>
        <p:spPr>
          <a:xfrm>
            <a:off x="8123237" y="1906588"/>
            <a:ext cx="4068763" cy="4951412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11"/>
          <p:cNvSpPr/>
          <p:nvPr userDrawn="1"/>
        </p:nvSpPr>
        <p:spPr>
          <a:xfrm>
            <a:off x="4068766" y="1906588"/>
            <a:ext cx="4067175" cy="4951412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9F9F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1" y="1906588"/>
            <a:ext cx="4068763" cy="4951412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7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6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90" y="1520829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9" y="2282826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5" y="2282826"/>
            <a:ext cx="342265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Дата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3" name="Нижний колонтитул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B5D72D6B-A7EC-450C-9253-5F1C58CEFDF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18912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6"/>
            <a:ext cx="6854825" cy="387798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9" y="1520829"/>
            <a:ext cx="6089651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B8568BD-FD26-4F48-891A-7F23FEB35B4D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27972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6"/>
            <a:ext cx="6854825" cy="387798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9" y="1520829"/>
            <a:ext cx="6089651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4216CA4A-D19A-4EC4-BEC5-275A6649E7D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779824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576352"/>
              </p:ext>
            </p:extLst>
          </p:nvPr>
        </p:nvGraphicFramePr>
        <p:xfrm>
          <a:off x="2175" y="163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5" y="163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6" y="664172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1352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800" smtClean="0">
                <a:solidFill>
                  <a:srgbClr val="808080"/>
                </a:solidFill>
              </a:rPr>
              <a:pPr defTabSz="91352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4985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800" y="152400"/>
            <a:ext cx="3214688" cy="183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8891522" cy="6858000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91522" h="6858000">
                <a:moveTo>
                  <a:pt x="0" y="6858000"/>
                </a:moveTo>
                <a:lnTo>
                  <a:pt x="381" y="0"/>
                </a:lnTo>
                <a:lnTo>
                  <a:pt x="8891522" y="1"/>
                </a:lnTo>
                <a:lnTo>
                  <a:pt x="638501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553998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rgbClr val="00AAFF"/>
                </a:solidFill>
                <a:latin typeface="VTB Group Cond Bold" charset="0"/>
                <a:ea typeface="VTB Group Cond Book" charset="0"/>
                <a:cs typeface="VTB Group Cond Book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FBB1F9E-DFED-419F-9B71-45C5EC7D5740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199405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4738" y="152400"/>
            <a:ext cx="3200400" cy="183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-1" y="-13446"/>
            <a:ext cx="12212945" cy="6884893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66734"/>
              <a:gd name="connsiteY0" fmla="*/ 6871446 h 6871446"/>
              <a:gd name="connsiteX1" fmla="*/ 381 w 12266734"/>
              <a:gd name="connsiteY1" fmla="*/ 13446 h 6871446"/>
              <a:gd name="connsiteX2" fmla="*/ 12266734 w 12266734"/>
              <a:gd name="connsiteY2" fmla="*/ 0 h 6871446"/>
              <a:gd name="connsiteX3" fmla="*/ 6385010 w 12266734"/>
              <a:gd name="connsiteY3" fmla="*/ 6871446 h 6871446"/>
              <a:gd name="connsiteX4" fmla="*/ 0 w 12266734"/>
              <a:gd name="connsiteY4" fmla="*/ 6871446 h 6871446"/>
              <a:gd name="connsiteX0" fmla="*/ 0 w 12266734"/>
              <a:gd name="connsiteY0" fmla="*/ 6871446 h 6884893"/>
              <a:gd name="connsiteX1" fmla="*/ 381 w 12266734"/>
              <a:gd name="connsiteY1" fmla="*/ 13446 h 6884893"/>
              <a:gd name="connsiteX2" fmla="*/ 12266734 w 12266734"/>
              <a:gd name="connsiteY2" fmla="*/ 0 h 6884893"/>
              <a:gd name="connsiteX3" fmla="*/ 12207586 w 12266734"/>
              <a:gd name="connsiteY3" fmla="*/ 6884893 h 6884893"/>
              <a:gd name="connsiteX4" fmla="*/ 0 w 12266734"/>
              <a:gd name="connsiteY4" fmla="*/ 6871446 h 6884893"/>
              <a:gd name="connsiteX0" fmla="*/ 0 w 12212945"/>
              <a:gd name="connsiteY0" fmla="*/ 6871446 h 6884893"/>
              <a:gd name="connsiteX1" fmla="*/ 381 w 12212945"/>
              <a:gd name="connsiteY1" fmla="*/ 13446 h 6884893"/>
              <a:gd name="connsiteX2" fmla="*/ 12212945 w 12212945"/>
              <a:gd name="connsiteY2" fmla="*/ 0 h 6884893"/>
              <a:gd name="connsiteX3" fmla="*/ 12207586 w 12212945"/>
              <a:gd name="connsiteY3" fmla="*/ 6884893 h 6884893"/>
              <a:gd name="connsiteX4" fmla="*/ 0 w 12212945"/>
              <a:gd name="connsiteY4" fmla="*/ 6871446 h 6884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2945" h="6884893">
                <a:moveTo>
                  <a:pt x="0" y="6871446"/>
                </a:moveTo>
                <a:lnTo>
                  <a:pt x="381" y="13446"/>
                </a:lnTo>
                <a:lnTo>
                  <a:pt x="12212945" y="0"/>
                </a:lnTo>
                <a:cubicBezTo>
                  <a:pt x="12211159" y="2294964"/>
                  <a:pt x="12209372" y="4589929"/>
                  <a:pt x="12207586" y="6884893"/>
                </a:cubicBezTo>
                <a:lnTo>
                  <a:pt x="0" y="6871446"/>
                </a:lnTo>
                <a:close/>
              </a:path>
            </a:pathLst>
          </a:custGeo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553998"/>
          </a:xfrm>
        </p:spPr>
        <p:txBody>
          <a:bodyPr/>
          <a:lstStyle>
            <a:lvl1pPr algn="l">
              <a:defRPr sz="4000">
                <a:solidFill>
                  <a:srgbClr val="00288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rgbClr val="00AAFF"/>
                </a:solidFill>
                <a:latin typeface="VTB Group Cond Bold" charset="0"/>
                <a:ea typeface="VTB Group Cond Book" charset="0"/>
                <a:cs typeface="VTB Group Cond Book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2857942-5F12-4EC2-B90D-D4F8B57208B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523678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553998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1401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0" name="Рисунок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120638" cy="6858001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0638" h="6858001">
                <a:moveTo>
                  <a:pt x="6120255" y="6858001"/>
                </a:moveTo>
                <a:cubicBezTo>
                  <a:pt x="6120382" y="4569179"/>
                  <a:pt x="6120511" y="2288822"/>
                  <a:pt x="6120638" y="0"/>
                </a:cubicBezTo>
                <a:lnTo>
                  <a:pt x="2506512" y="1"/>
                </a:lnTo>
                <a:lnTo>
                  <a:pt x="0" y="6858000"/>
                </a:lnTo>
                <a:lnTo>
                  <a:pt x="6120255" y="6858001"/>
                </a:lnTo>
                <a:close/>
              </a:path>
            </a:pathLst>
          </a:custGeo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5CDBB3FB-39B9-49CF-82C7-552DB9D84A6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707880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6854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F609D687-6883-42C8-943A-2AA2CD57F237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450989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6854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7613650" y="2282824"/>
            <a:ext cx="3053777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00AAFF"/>
                </a:solidFill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E5E1D473-0C4B-4C05-AC05-E0907113CEE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044017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Изображение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4739" y="152400"/>
            <a:ext cx="3200400" cy="183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-1" y="-13446"/>
            <a:ext cx="12212945" cy="6884893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66734"/>
              <a:gd name="connsiteY0" fmla="*/ 6871446 h 6871446"/>
              <a:gd name="connsiteX1" fmla="*/ 381 w 12266734"/>
              <a:gd name="connsiteY1" fmla="*/ 13446 h 6871446"/>
              <a:gd name="connsiteX2" fmla="*/ 12266734 w 12266734"/>
              <a:gd name="connsiteY2" fmla="*/ 0 h 6871446"/>
              <a:gd name="connsiteX3" fmla="*/ 6385010 w 12266734"/>
              <a:gd name="connsiteY3" fmla="*/ 6871446 h 6871446"/>
              <a:gd name="connsiteX4" fmla="*/ 0 w 12266734"/>
              <a:gd name="connsiteY4" fmla="*/ 6871446 h 6871446"/>
              <a:gd name="connsiteX0" fmla="*/ 0 w 12266734"/>
              <a:gd name="connsiteY0" fmla="*/ 6871446 h 6884893"/>
              <a:gd name="connsiteX1" fmla="*/ 381 w 12266734"/>
              <a:gd name="connsiteY1" fmla="*/ 13446 h 6884893"/>
              <a:gd name="connsiteX2" fmla="*/ 12266734 w 12266734"/>
              <a:gd name="connsiteY2" fmla="*/ 0 h 6884893"/>
              <a:gd name="connsiteX3" fmla="*/ 12207586 w 12266734"/>
              <a:gd name="connsiteY3" fmla="*/ 6884893 h 6884893"/>
              <a:gd name="connsiteX4" fmla="*/ 0 w 12266734"/>
              <a:gd name="connsiteY4" fmla="*/ 6871446 h 6884893"/>
              <a:gd name="connsiteX0" fmla="*/ 0 w 12212945"/>
              <a:gd name="connsiteY0" fmla="*/ 6871446 h 6884893"/>
              <a:gd name="connsiteX1" fmla="*/ 381 w 12212945"/>
              <a:gd name="connsiteY1" fmla="*/ 13446 h 6884893"/>
              <a:gd name="connsiteX2" fmla="*/ 12212945 w 12212945"/>
              <a:gd name="connsiteY2" fmla="*/ 0 h 6884893"/>
              <a:gd name="connsiteX3" fmla="*/ 12207586 w 12212945"/>
              <a:gd name="connsiteY3" fmla="*/ 6884893 h 6884893"/>
              <a:gd name="connsiteX4" fmla="*/ 0 w 12212945"/>
              <a:gd name="connsiteY4" fmla="*/ 6871446 h 6884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2945" h="6884893">
                <a:moveTo>
                  <a:pt x="0" y="6871446"/>
                </a:moveTo>
                <a:lnTo>
                  <a:pt x="381" y="13446"/>
                </a:lnTo>
                <a:lnTo>
                  <a:pt x="12212945" y="0"/>
                </a:lnTo>
                <a:cubicBezTo>
                  <a:pt x="12211159" y="2294964"/>
                  <a:pt x="12209372" y="4589929"/>
                  <a:pt x="12207586" y="6884893"/>
                </a:cubicBezTo>
                <a:lnTo>
                  <a:pt x="0" y="6871446"/>
                </a:lnTo>
                <a:close/>
              </a:path>
            </a:pathLst>
          </a:custGeo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9" y="1846783"/>
            <a:ext cx="6863371" cy="553998"/>
          </a:xfrm>
        </p:spPr>
        <p:txBody>
          <a:bodyPr/>
          <a:lstStyle>
            <a:lvl1pPr algn="l">
              <a:defRPr sz="4000">
                <a:solidFill>
                  <a:srgbClr val="00288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8" y="2788219"/>
            <a:ext cx="5713413" cy="33239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baseline="0">
                <a:solidFill>
                  <a:srgbClr val="00AAFF"/>
                </a:solidFill>
                <a:latin typeface="VTB Group Cond Bold" charset="0"/>
                <a:ea typeface="VTB Group Cond Book" charset="0"/>
                <a:cs typeface="VTB Group Cond Book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2857942-5F12-4EC2-B90D-D4F8B57208B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296286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6854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713412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ED301F2-E488-4F8D-B25A-D15907A0B0A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308305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/>
          <p:cNvSpPr/>
          <p:nvPr userDrawn="1"/>
        </p:nvSpPr>
        <p:spPr>
          <a:xfrm>
            <a:off x="608965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647223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ED7E18D7-7BD8-4A1B-9422-4C741F21523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67863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12"/>
          <p:cNvSpPr/>
          <p:nvPr userDrawn="1"/>
        </p:nvSpPr>
        <p:spPr>
          <a:xfrm>
            <a:off x="8123238" y="1906588"/>
            <a:ext cx="4068762" cy="495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11"/>
          <p:cNvSpPr/>
          <p:nvPr userDrawn="1"/>
        </p:nvSpPr>
        <p:spPr>
          <a:xfrm>
            <a:off x="4068763" y="1906588"/>
            <a:ext cx="4067175" cy="4951412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9F9F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0" y="1906588"/>
            <a:ext cx="4068763" cy="495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Дата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3" name="Нижний колонтитул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E2365B29-0545-45B2-9D0B-4D50EBA2DC8C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571778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0A3CB4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1170577"/>
          </a:xfrm>
          <a:prstGeom prst="rect">
            <a:avLst/>
          </a:prstGeom>
        </p:spPr>
        <p:txBody>
          <a:bodyPr/>
          <a:lstStyle>
            <a:lvl1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1pPr>
            <a:lvl2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2pPr>
            <a:lvl3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3pPr>
            <a:lvl4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4pPr>
            <a:lvl5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F1F35CC5-68D0-4DD6-9B9D-97905F066D5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60412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2238" y="2282824"/>
            <a:ext cx="495458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 cap="all" baseline="0">
                <a:solidFill>
                  <a:srgbClr val="002882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4F908846-B271-45D2-818D-809E411A4E0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256783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12"/>
          <p:cNvSpPr/>
          <p:nvPr userDrawn="1"/>
        </p:nvSpPr>
        <p:spPr>
          <a:xfrm>
            <a:off x="8123238" y="1906588"/>
            <a:ext cx="4068762" cy="4951412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11"/>
          <p:cNvSpPr/>
          <p:nvPr userDrawn="1"/>
        </p:nvSpPr>
        <p:spPr>
          <a:xfrm>
            <a:off x="4068763" y="1906588"/>
            <a:ext cx="4067175" cy="4951412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9F9F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0" y="1906588"/>
            <a:ext cx="4068763" cy="4951412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Дата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3" name="Нижний колонтитул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B5D72D6B-A7EC-450C-9253-5F1C58CEFDF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378645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6854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B8568BD-FD26-4F48-891A-7F23FEB35B4D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482177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6854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4216CA4A-D19A-4EC4-BEC5-275A6649E7D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246168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75" y="163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7AE1BB-729E-45B0-BDA5-83003B76EC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5" y="163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6" y="664172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defTabSz="91352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ru-RU" sz="800" smtClean="0">
                <a:solidFill>
                  <a:srgbClr val="808080"/>
                </a:solidFill>
              </a:rPr>
              <a:pPr defTabSz="91352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3234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9" y="1846783"/>
            <a:ext cx="6863371" cy="553998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8" y="2788215"/>
            <a:ext cx="5713413" cy="1401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0" name="Рисунок 8"/>
          <p:cNvSpPr>
            <a:spLocks noGrp="1"/>
          </p:cNvSpPr>
          <p:nvPr>
            <p:ph type="pic" sz="quarter" idx="14"/>
          </p:nvPr>
        </p:nvSpPr>
        <p:spPr>
          <a:xfrm>
            <a:off x="6096002" y="3"/>
            <a:ext cx="6120639" cy="6858001"/>
          </a:xfrm>
          <a:custGeom>
            <a:avLst/>
            <a:gdLst>
              <a:gd name="connsiteX0" fmla="*/ 0 w 6402324"/>
              <a:gd name="connsiteY0" fmla="*/ 6858000 h 6858000"/>
              <a:gd name="connsiteX1" fmla="*/ 16005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6402324"/>
              <a:gd name="connsiteY0" fmla="*/ 6858000 h 6858000"/>
              <a:gd name="connsiteX1" fmla="*/ 381 w 6402324"/>
              <a:gd name="connsiteY1" fmla="*/ 0 h 6858000"/>
              <a:gd name="connsiteX2" fmla="*/ 6402324 w 6402324"/>
              <a:gd name="connsiteY2" fmla="*/ 0 h 6858000"/>
              <a:gd name="connsiteX3" fmla="*/ 4801743 w 6402324"/>
              <a:gd name="connsiteY3" fmla="*/ 6858000 h 6858000"/>
              <a:gd name="connsiteX4" fmla="*/ 0 w 6402324"/>
              <a:gd name="connsiteY4" fmla="*/ 6858000 h 6858000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4801743 w 8908457"/>
              <a:gd name="connsiteY3" fmla="*/ 6858000 h 6858000"/>
              <a:gd name="connsiteX4" fmla="*/ 0 w 8908457"/>
              <a:gd name="connsiteY4" fmla="*/ 6858000 h 6858000"/>
              <a:gd name="connsiteX0" fmla="*/ 0 w 8908457"/>
              <a:gd name="connsiteY0" fmla="*/ 6858000 h 6866467"/>
              <a:gd name="connsiteX1" fmla="*/ 381 w 8908457"/>
              <a:gd name="connsiteY1" fmla="*/ 0 h 6866467"/>
              <a:gd name="connsiteX2" fmla="*/ 8908457 w 8908457"/>
              <a:gd name="connsiteY2" fmla="*/ 0 h 6866467"/>
              <a:gd name="connsiteX3" fmla="*/ 6393476 w 8908457"/>
              <a:gd name="connsiteY3" fmla="*/ 6866467 h 6866467"/>
              <a:gd name="connsiteX4" fmla="*/ 0 w 8908457"/>
              <a:gd name="connsiteY4" fmla="*/ 6858000 h 6866467"/>
              <a:gd name="connsiteX0" fmla="*/ 0 w 8908457"/>
              <a:gd name="connsiteY0" fmla="*/ 6858000 h 6917267"/>
              <a:gd name="connsiteX1" fmla="*/ 381 w 8908457"/>
              <a:gd name="connsiteY1" fmla="*/ 0 h 6917267"/>
              <a:gd name="connsiteX2" fmla="*/ 8908457 w 8908457"/>
              <a:gd name="connsiteY2" fmla="*/ 0 h 6917267"/>
              <a:gd name="connsiteX3" fmla="*/ 6393476 w 8908457"/>
              <a:gd name="connsiteY3" fmla="*/ 6917267 h 6917267"/>
              <a:gd name="connsiteX4" fmla="*/ 0 w 8908457"/>
              <a:gd name="connsiteY4" fmla="*/ 6858000 h 6917267"/>
              <a:gd name="connsiteX0" fmla="*/ 0 w 8908457"/>
              <a:gd name="connsiteY0" fmla="*/ 6858000 h 6858000"/>
              <a:gd name="connsiteX1" fmla="*/ 381 w 8908457"/>
              <a:gd name="connsiteY1" fmla="*/ 0 h 6858000"/>
              <a:gd name="connsiteX2" fmla="*/ 8908457 w 8908457"/>
              <a:gd name="connsiteY2" fmla="*/ 0 h 6858000"/>
              <a:gd name="connsiteX3" fmla="*/ 6385010 w 8908457"/>
              <a:gd name="connsiteY3" fmla="*/ 6858000 h 6858000"/>
              <a:gd name="connsiteX4" fmla="*/ 0 w 8908457"/>
              <a:gd name="connsiteY4" fmla="*/ 6858000 h 6858000"/>
              <a:gd name="connsiteX0" fmla="*/ 0 w 8823790"/>
              <a:gd name="connsiteY0" fmla="*/ 6858000 h 6858000"/>
              <a:gd name="connsiteX1" fmla="*/ 381 w 8823790"/>
              <a:gd name="connsiteY1" fmla="*/ 0 h 6858000"/>
              <a:gd name="connsiteX2" fmla="*/ 8823790 w 8823790"/>
              <a:gd name="connsiteY2" fmla="*/ 8467 h 6858000"/>
              <a:gd name="connsiteX3" fmla="*/ 6385010 w 8823790"/>
              <a:gd name="connsiteY3" fmla="*/ 6858000 h 6858000"/>
              <a:gd name="connsiteX4" fmla="*/ 0 w 8823790"/>
              <a:gd name="connsiteY4" fmla="*/ 6858000 h 6858000"/>
              <a:gd name="connsiteX0" fmla="*/ 0 w 8874590"/>
              <a:gd name="connsiteY0" fmla="*/ 6858000 h 6858000"/>
              <a:gd name="connsiteX1" fmla="*/ 381 w 8874590"/>
              <a:gd name="connsiteY1" fmla="*/ 0 h 6858000"/>
              <a:gd name="connsiteX2" fmla="*/ 8874590 w 8874590"/>
              <a:gd name="connsiteY2" fmla="*/ 8467 h 6858000"/>
              <a:gd name="connsiteX3" fmla="*/ 6385010 w 8874590"/>
              <a:gd name="connsiteY3" fmla="*/ 6858000 h 6858000"/>
              <a:gd name="connsiteX4" fmla="*/ 0 w 8874590"/>
              <a:gd name="connsiteY4" fmla="*/ 6858000 h 6858000"/>
              <a:gd name="connsiteX0" fmla="*/ 0 w 8849190"/>
              <a:gd name="connsiteY0" fmla="*/ 6858000 h 6858000"/>
              <a:gd name="connsiteX1" fmla="*/ 381 w 8849190"/>
              <a:gd name="connsiteY1" fmla="*/ 0 h 6858000"/>
              <a:gd name="connsiteX2" fmla="*/ 8849190 w 8849190"/>
              <a:gd name="connsiteY2" fmla="*/ 16934 h 6858000"/>
              <a:gd name="connsiteX3" fmla="*/ 6385010 w 8849190"/>
              <a:gd name="connsiteY3" fmla="*/ 6858000 h 6858000"/>
              <a:gd name="connsiteX4" fmla="*/ 0 w 8849190"/>
              <a:gd name="connsiteY4" fmla="*/ 6858000 h 6858000"/>
              <a:gd name="connsiteX0" fmla="*/ 0 w 8586723"/>
              <a:gd name="connsiteY0" fmla="*/ 6858000 h 6858000"/>
              <a:gd name="connsiteX1" fmla="*/ 381 w 8586723"/>
              <a:gd name="connsiteY1" fmla="*/ 0 h 6858000"/>
              <a:gd name="connsiteX2" fmla="*/ 8586723 w 8586723"/>
              <a:gd name="connsiteY2" fmla="*/ 1 h 6858000"/>
              <a:gd name="connsiteX3" fmla="*/ 6385010 w 8586723"/>
              <a:gd name="connsiteY3" fmla="*/ 6858000 h 6858000"/>
              <a:gd name="connsiteX4" fmla="*/ 0 w 8586723"/>
              <a:gd name="connsiteY4" fmla="*/ 6858000 h 6858000"/>
              <a:gd name="connsiteX0" fmla="*/ 0 w 8874589"/>
              <a:gd name="connsiteY0" fmla="*/ 6858000 h 6858000"/>
              <a:gd name="connsiteX1" fmla="*/ 381 w 8874589"/>
              <a:gd name="connsiteY1" fmla="*/ 0 h 6858000"/>
              <a:gd name="connsiteX2" fmla="*/ 8874589 w 8874589"/>
              <a:gd name="connsiteY2" fmla="*/ 8468 h 6858000"/>
              <a:gd name="connsiteX3" fmla="*/ 6385010 w 8874589"/>
              <a:gd name="connsiteY3" fmla="*/ 6858000 h 6858000"/>
              <a:gd name="connsiteX4" fmla="*/ 0 w 8874589"/>
              <a:gd name="connsiteY4" fmla="*/ 6858000 h 6858000"/>
              <a:gd name="connsiteX0" fmla="*/ 0 w 8823789"/>
              <a:gd name="connsiteY0" fmla="*/ 6858000 h 6858000"/>
              <a:gd name="connsiteX1" fmla="*/ 381 w 8823789"/>
              <a:gd name="connsiteY1" fmla="*/ 0 h 6858000"/>
              <a:gd name="connsiteX2" fmla="*/ 8823789 w 8823789"/>
              <a:gd name="connsiteY2" fmla="*/ 16934 h 6858000"/>
              <a:gd name="connsiteX3" fmla="*/ 6385010 w 8823789"/>
              <a:gd name="connsiteY3" fmla="*/ 6858000 h 6858000"/>
              <a:gd name="connsiteX4" fmla="*/ 0 w 8823789"/>
              <a:gd name="connsiteY4" fmla="*/ 6858000 h 6858000"/>
              <a:gd name="connsiteX0" fmla="*/ 0 w 8883055"/>
              <a:gd name="connsiteY0" fmla="*/ 6858000 h 6858000"/>
              <a:gd name="connsiteX1" fmla="*/ 381 w 8883055"/>
              <a:gd name="connsiteY1" fmla="*/ 0 h 6858000"/>
              <a:gd name="connsiteX2" fmla="*/ 8883055 w 8883055"/>
              <a:gd name="connsiteY2" fmla="*/ 8467 h 6858000"/>
              <a:gd name="connsiteX3" fmla="*/ 6385010 w 8883055"/>
              <a:gd name="connsiteY3" fmla="*/ 6858000 h 6858000"/>
              <a:gd name="connsiteX4" fmla="*/ 0 w 8883055"/>
              <a:gd name="connsiteY4" fmla="*/ 6858000 h 6858000"/>
              <a:gd name="connsiteX0" fmla="*/ 0 w 8891522"/>
              <a:gd name="connsiteY0" fmla="*/ 6900333 h 6900333"/>
              <a:gd name="connsiteX1" fmla="*/ 381 w 8891522"/>
              <a:gd name="connsiteY1" fmla="*/ 42333 h 6900333"/>
              <a:gd name="connsiteX2" fmla="*/ 8891522 w 8891522"/>
              <a:gd name="connsiteY2" fmla="*/ 0 h 6900333"/>
              <a:gd name="connsiteX3" fmla="*/ 6385010 w 8891522"/>
              <a:gd name="connsiteY3" fmla="*/ 6900333 h 6900333"/>
              <a:gd name="connsiteX4" fmla="*/ 0 w 8891522"/>
              <a:gd name="connsiteY4" fmla="*/ 6900333 h 6900333"/>
              <a:gd name="connsiteX0" fmla="*/ 0 w 8891522"/>
              <a:gd name="connsiteY0" fmla="*/ 6858000 h 6858000"/>
              <a:gd name="connsiteX1" fmla="*/ 381 w 8891522"/>
              <a:gd name="connsiteY1" fmla="*/ 0 h 6858000"/>
              <a:gd name="connsiteX2" fmla="*/ 8891522 w 8891522"/>
              <a:gd name="connsiteY2" fmla="*/ 1 h 6858000"/>
              <a:gd name="connsiteX3" fmla="*/ 6385010 w 8891522"/>
              <a:gd name="connsiteY3" fmla="*/ 6858000 h 6858000"/>
              <a:gd name="connsiteX4" fmla="*/ 0 w 8891522"/>
              <a:gd name="connsiteY4" fmla="*/ 6858000 h 6858000"/>
              <a:gd name="connsiteX0" fmla="*/ 0 w 12200848"/>
              <a:gd name="connsiteY0" fmla="*/ 6858000 h 6858000"/>
              <a:gd name="connsiteX1" fmla="*/ 12200848 w 12200848"/>
              <a:gd name="connsiteY1" fmla="*/ 0 h 6858000"/>
              <a:gd name="connsiteX2" fmla="*/ 8891522 w 12200848"/>
              <a:gd name="connsiteY2" fmla="*/ 1 h 6858000"/>
              <a:gd name="connsiteX3" fmla="*/ 6385010 w 12200848"/>
              <a:gd name="connsiteY3" fmla="*/ 6858000 h 6858000"/>
              <a:gd name="connsiteX4" fmla="*/ 0 w 12200848"/>
              <a:gd name="connsiteY4" fmla="*/ 6858000 h 6858000"/>
              <a:gd name="connsiteX0" fmla="*/ 5823923 w 5823923"/>
              <a:gd name="connsiteY0" fmla="*/ 6858000 h 6858000"/>
              <a:gd name="connsiteX1" fmla="*/ 5815838 w 5823923"/>
              <a:gd name="connsiteY1" fmla="*/ 0 h 6858000"/>
              <a:gd name="connsiteX2" fmla="*/ 2506512 w 5823923"/>
              <a:gd name="connsiteY2" fmla="*/ 1 h 6858000"/>
              <a:gd name="connsiteX3" fmla="*/ 0 w 5823923"/>
              <a:gd name="connsiteY3" fmla="*/ 6858000 h 6858000"/>
              <a:gd name="connsiteX4" fmla="*/ 5823923 w 5823923"/>
              <a:gd name="connsiteY4" fmla="*/ 6858000 h 6858000"/>
              <a:gd name="connsiteX0" fmla="*/ 5900123 w 5900123"/>
              <a:gd name="connsiteY0" fmla="*/ 6874933 h 6874933"/>
              <a:gd name="connsiteX1" fmla="*/ 5815838 w 5900123"/>
              <a:gd name="connsiteY1" fmla="*/ 0 h 6874933"/>
              <a:gd name="connsiteX2" fmla="*/ 2506512 w 5900123"/>
              <a:gd name="connsiteY2" fmla="*/ 1 h 6874933"/>
              <a:gd name="connsiteX3" fmla="*/ 0 w 5900123"/>
              <a:gd name="connsiteY3" fmla="*/ 6858000 h 6874933"/>
              <a:gd name="connsiteX4" fmla="*/ 5900123 w 5900123"/>
              <a:gd name="connsiteY4" fmla="*/ 6874933 h 6874933"/>
              <a:gd name="connsiteX0" fmla="*/ 5815456 w 5815838"/>
              <a:gd name="connsiteY0" fmla="*/ 6866467 h 6866467"/>
              <a:gd name="connsiteX1" fmla="*/ 5815838 w 5815838"/>
              <a:gd name="connsiteY1" fmla="*/ 0 h 6866467"/>
              <a:gd name="connsiteX2" fmla="*/ 2506512 w 5815838"/>
              <a:gd name="connsiteY2" fmla="*/ 1 h 6866467"/>
              <a:gd name="connsiteX3" fmla="*/ 0 w 5815838"/>
              <a:gd name="connsiteY3" fmla="*/ 6858000 h 6866467"/>
              <a:gd name="connsiteX4" fmla="*/ 5815456 w 5815838"/>
              <a:gd name="connsiteY4" fmla="*/ 6866467 h 6866467"/>
              <a:gd name="connsiteX0" fmla="*/ 5815456 w 5815838"/>
              <a:gd name="connsiteY0" fmla="*/ 7001934 h 7001934"/>
              <a:gd name="connsiteX1" fmla="*/ 5815838 w 5815838"/>
              <a:gd name="connsiteY1" fmla="*/ 0 h 7001934"/>
              <a:gd name="connsiteX2" fmla="*/ 2506512 w 5815838"/>
              <a:gd name="connsiteY2" fmla="*/ 1 h 7001934"/>
              <a:gd name="connsiteX3" fmla="*/ 0 w 5815838"/>
              <a:gd name="connsiteY3" fmla="*/ 6858000 h 7001934"/>
              <a:gd name="connsiteX4" fmla="*/ 5815456 w 5815838"/>
              <a:gd name="connsiteY4" fmla="*/ 7001934 h 7001934"/>
              <a:gd name="connsiteX0" fmla="*/ 5823922 w 5823923"/>
              <a:gd name="connsiteY0" fmla="*/ 6858001 h 6858001"/>
              <a:gd name="connsiteX1" fmla="*/ 5815838 w 5823923"/>
              <a:gd name="connsiteY1" fmla="*/ 0 h 6858001"/>
              <a:gd name="connsiteX2" fmla="*/ 2506512 w 5823923"/>
              <a:gd name="connsiteY2" fmla="*/ 1 h 6858001"/>
              <a:gd name="connsiteX3" fmla="*/ 0 w 5823923"/>
              <a:gd name="connsiteY3" fmla="*/ 6858000 h 6858001"/>
              <a:gd name="connsiteX4" fmla="*/ 5823922 w 5823923"/>
              <a:gd name="connsiteY4" fmla="*/ 6858001 h 6858001"/>
              <a:gd name="connsiteX0" fmla="*/ 5942455 w 5942455"/>
              <a:gd name="connsiteY0" fmla="*/ 6866468 h 6866468"/>
              <a:gd name="connsiteX1" fmla="*/ 5815838 w 5942455"/>
              <a:gd name="connsiteY1" fmla="*/ 0 h 6866468"/>
              <a:gd name="connsiteX2" fmla="*/ 2506512 w 5942455"/>
              <a:gd name="connsiteY2" fmla="*/ 1 h 6866468"/>
              <a:gd name="connsiteX3" fmla="*/ 0 w 5942455"/>
              <a:gd name="connsiteY3" fmla="*/ 6858000 h 6866468"/>
              <a:gd name="connsiteX4" fmla="*/ 5942455 w 5942455"/>
              <a:gd name="connsiteY4" fmla="*/ 6866468 h 6866468"/>
              <a:gd name="connsiteX0" fmla="*/ 5806988 w 5815838"/>
              <a:gd name="connsiteY0" fmla="*/ 6874935 h 6874935"/>
              <a:gd name="connsiteX1" fmla="*/ 5815838 w 5815838"/>
              <a:gd name="connsiteY1" fmla="*/ 0 h 6874935"/>
              <a:gd name="connsiteX2" fmla="*/ 2506512 w 5815838"/>
              <a:gd name="connsiteY2" fmla="*/ 1 h 6874935"/>
              <a:gd name="connsiteX3" fmla="*/ 0 w 5815838"/>
              <a:gd name="connsiteY3" fmla="*/ 6858000 h 6874935"/>
              <a:gd name="connsiteX4" fmla="*/ 5806988 w 5815838"/>
              <a:gd name="connsiteY4" fmla="*/ 6874935 h 6874935"/>
              <a:gd name="connsiteX0" fmla="*/ 5806988 w 6958838"/>
              <a:gd name="connsiteY0" fmla="*/ 6874934 h 6874934"/>
              <a:gd name="connsiteX1" fmla="*/ 6958838 w 6958838"/>
              <a:gd name="connsiteY1" fmla="*/ 8466 h 6874934"/>
              <a:gd name="connsiteX2" fmla="*/ 2506512 w 6958838"/>
              <a:gd name="connsiteY2" fmla="*/ 0 h 6874934"/>
              <a:gd name="connsiteX3" fmla="*/ 0 w 6958838"/>
              <a:gd name="connsiteY3" fmla="*/ 6857999 h 6874934"/>
              <a:gd name="connsiteX4" fmla="*/ 5806988 w 6958838"/>
              <a:gd name="connsiteY4" fmla="*/ 6874934 h 6874934"/>
              <a:gd name="connsiteX0" fmla="*/ 6958455 w 6958838"/>
              <a:gd name="connsiteY0" fmla="*/ 6858001 h 6858001"/>
              <a:gd name="connsiteX1" fmla="*/ 6958838 w 6958838"/>
              <a:gd name="connsiteY1" fmla="*/ 8466 h 6858001"/>
              <a:gd name="connsiteX2" fmla="*/ 2506512 w 6958838"/>
              <a:gd name="connsiteY2" fmla="*/ 0 h 6858001"/>
              <a:gd name="connsiteX3" fmla="*/ 0 w 6958838"/>
              <a:gd name="connsiteY3" fmla="*/ 6857999 h 6858001"/>
              <a:gd name="connsiteX4" fmla="*/ 6958455 w 6958838"/>
              <a:gd name="connsiteY4" fmla="*/ 6858001 h 6858001"/>
              <a:gd name="connsiteX0" fmla="*/ 6958455 w 6967305"/>
              <a:gd name="connsiteY0" fmla="*/ 6858001 h 6858001"/>
              <a:gd name="connsiteX1" fmla="*/ 6967305 w 6967305"/>
              <a:gd name="connsiteY1" fmla="*/ 126999 h 6858001"/>
              <a:gd name="connsiteX2" fmla="*/ 2506512 w 6967305"/>
              <a:gd name="connsiteY2" fmla="*/ 0 h 6858001"/>
              <a:gd name="connsiteX3" fmla="*/ 0 w 6967305"/>
              <a:gd name="connsiteY3" fmla="*/ 6857999 h 6858001"/>
              <a:gd name="connsiteX4" fmla="*/ 6958455 w 6967305"/>
              <a:gd name="connsiteY4" fmla="*/ 6858001 h 6858001"/>
              <a:gd name="connsiteX0" fmla="*/ 6958455 w 6967305"/>
              <a:gd name="connsiteY0" fmla="*/ 6866469 h 6866469"/>
              <a:gd name="connsiteX1" fmla="*/ 6967305 w 6967305"/>
              <a:gd name="connsiteY1" fmla="*/ 0 h 6866469"/>
              <a:gd name="connsiteX2" fmla="*/ 2506512 w 6967305"/>
              <a:gd name="connsiteY2" fmla="*/ 8468 h 6866469"/>
              <a:gd name="connsiteX3" fmla="*/ 0 w 6967305"/>
              <a:gd name="connsiteY3" fmla="*/ 6866467 h 6866469"/>
              <a:gd name="connsiteX4" fmla="*/ 6958455 w 6967305"/>
              <a:gd name="connsiteY4" fmla="*/ 6866469 h 6866469"/>
              <a:gd name="connsiteX0" fmla="*/ 7102388 w 7102388"/>
              <a:gd name="connsiteY0" fmla="*/ 6858002 h 6866467"/>
              <a:gd name="connsiteX1" fmla="*/ 6967305 w 7102388"/>
              <a:gd name="connsiteY1" fmla="*/ 0 h 6866467"/>
              <a:gd name="connsiteX2" fmla="*/ 2506512 w 7102388"/>
              <a:gd name="connsiteY2" fmla="*/ 8468 h 6866467"/>
              <a:gd name="connsiteX3" fmla="*/ 0 w 7102388"/>
              <a:gd name="connsiteY3" fmla="*/ 6866467 h 6866467"/>
              <a:gd name="connsiteX4" fmla="*/ 7102388 w 7102388"/>
              <a:gd name="connsiteY4" fmla="*/ 6858002 h 6866467"/>
              <a:gd name="connsiteX0" fmla="*/ 6966921 w 6967305"/>
              <a:gd name="connsiteY0" fmla="*/ 6874935 h 6874935"/>
              <a:gd name="connsiteX1" fmla="*/ 6967305 w 6967305"/>
              <a:gd name="connsiteY1" fmla="*/ 0 h 6874935"/>
              <a:gd name="connsiteX2" fmla="*/ 2506512 w 6967305"/>
              <a:gd name="connsiteY2" fmla="*/ 8468 h 6874935"/>
              <a:gd name="connsiteX3" fmla="*/ 0 w 6967305"/>
              <a:gd name="connsiteY3" fmla="*/ 6866467 h 6874935"/>
              <a:gd name="connsiteX4" fmla="*/ 6966921 w 6967305"/>
              <a:gd name="connsiteY4" fmla="*/ 6874935 h 6874935"/>
              <a:gd name="connsiteX0" fmla="*/ 6983855 w 6983855"/>
              <a:gd name="connsiteY0" fmla="*/ 6968068 h 6968068"/>
              <a:gd name="connsiteX1" fmla="*/ 6967305 w 6983855"/>
              <a:gd name="connsiteY1" fmla="*/ 0 h 6968068"/>
              <a:gd name="connsiteX2" fmla="*/ 2506512 w 6983855"/>
              <a:gd name="connsiteY2" fmla="*/ 8468 h 6968068"/>
              <a:gd name="connsiteX3" fmla="*/ 0 w 6983855"/>
              <a:gd name="connsiteY3" fmla="*/ 6866467 h 6968068"/>
              <a:gd name="connsiteX4" fmla="*/ 6983855 w 6983855"/>
              <a:gd name="connsiteY4" fmla="*/ 6968068 h 6968068"/>
              <a:gd name="connsiteX0" fmla="*/ 6966921 w 6967305"/>
              <a:gd name="connsiteY0" fmla="*/ 6874934 h 6874934"/>
              <a:gd name="connsiteX1" fmla="*/ 6967305 w 6967305"/>
              <a:gd name="connsiteY1" fmla="*/ 0 h 6874934"/>
              <a:gd name="connsiteX2" fmla="*/ 2506512 w 6967305"/>
              <a:gd name="connsiteY2" fmla="*/ 8468 h 6874934"/>
              <a:gd name="connsiteX3" fmla="*/ 0 w 6967305"/>
              <a:gd name="connsiteY3" fmla="*/ 6866467 h 6874934"/>
              <a:gd name="connsiteX4" fmla="*/ 6966921 w 6967305"/>
              <a:gd name="connsiteY4" fmla="*/ 6874934 h 6874934"/>
              <a:gd name="connsiteX0" fmla="*/ 6966921 w 6966921"/>
              <a:gd name="connsiteY0" fmla="*/ 6866467 h 6866467"/>
              <a:gd name="connsiteX1" fmla="*/ 6120638 w 6966921"/>
              <a:gd name="connsiteY1" fmla="*/ 0 h 6866467"/>
              <a:gd name="connsiteX2" fmla="*/ 2506512 w 6966921"/>
              <a:gd name="connsiteY2" fmla="*/ 1 h 6866467"/>
              <a:gd name="connsiteX3" fmla="*/ 0 w 6966921"/>
              <a:gd name="connsiteY3" fmla="*/ 6858000 h 6866467"/>
              <a:gd name="connsiteX4" fmla="*/ 6966921 w 6966921"/>
              <a:gd name="connsiteY4" fmla="*/ 6866467 h 6866467"/>
              <a:gd name="connsiteX0" fmla="*/ 6120255 w 6120638"/>
              <a:gd name="connsiteY0" fmla="*/ 6858001 h 6858001"/>
              <a:gd name="connsiteX1" fmla="*/ 6120638 w 6120638"/>
              <a:gd name="connsiteY1" fmla="*/ 0 h 6858001"/>
              <a:gd name="connsiteX2" fmla="*/ 2506512 w 6120638"/>
              <a:gd name="connsiteY2" fmla="*/ 1 h 6858001"/>
              <a:gd name="connsiteX3" fmla="*/ 0 w 6120638"/>
              <a:gd name="connsiteY3" fmla="*/ 6858000 h 6858001"/>
              <a:gd name="connsiteX4" fmla="*/ 6120255 w 6120638"/>
              <a:gd name="connsiteY4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0638" h="6858001">
                <a:moveTo>
                  <a:pt x="6120255" y="6858001"/>
                </a:moveTo>
                <a:cubicBezTo>
                  <a:pt x="6120382" y="4569179"/>
                  <a:pt x="6120511" y="2288822"/>
                  <a:pt x="6120638" y="0"/>
                </a:cubicBezTo>
                <a:lnTo>
                  <a:pt x="2506512" y="1"/>
                </a:lnTo>
                <a:lnTo>
                  <a:pt x="0" y="6858000"/>
                </a:lnTo>
                <a:lnTo>
                  <a:pt x="6120255" y="6858001"/>
                </a:lnTo>
                <a:close/>
              </a:path>
            </a:pathLst>
          </a:custGeo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5CDBB3FB-39B9-49CF-82C7-552DB9D84A6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20685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6"/>
            <a:ext cx="6854825" cy="387798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9" y="2282826"/>
            <a:ext cx="608965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9" y="1520829"/>
            <a:ext cx="6089651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F609D687-6883-42C8-943A-2AA2CD57F237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1761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6"/>
            <a:ext cx="6854825" cy="387798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9" y="2282826"/>
            <a:ext cx="608965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9" y="1520829"/>
            <a:ext cx="6089651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7613653" y="2282828"/>
            <a:ext cx="3053777" cy="1661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rgbClr val="00AAFF"/>
                </a:solidFill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E5E1D473-0C4B-4C05-AC05-E0907113CEE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76119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6"/>
            <a:ext cx="6854825" cy="387798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90" y="2282826"/>
            <a:ext cx="5713412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89" y="1520829"/>
            <a:ext cx="6089651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52" y="2282826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BED301F2-E488-4F8D-B25A-D15907A0B0A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88885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/>
          <p:cNvSpPr/>
          <p:nvPr userDrawn="1"/>
        </p:nvSpPr>
        <p:spPr>
          <a:xfrm>
            <a:off x="6089651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7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90" y="2282826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90" y="1520829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6472241" y="2282826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ED7E18D7-7BD8-4A1B-9422-4C741F215239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37087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12"/>
          <p:cNvSpPr/>
          <p:nvPr userDrawn="1"/>
        </p:nvSpPr>
        <p:spPr>
          <a:xfrm>
            <a:off x="8123237" y="1906588"/>
            <a:ext cx="4068763" cy="495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11"/>
          <p:cNvSpPr/>
          <p:nvPr userDrawn="1"/>
        </p:nvSpPr>
        <p:spPr>
          <a:xfrm>
            <a:off x="4068766" y="1906588"/>
            <a:ext cx="4067175" cy="4951412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9F9F9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1" y="1906588"/>
            <a:ext cx="4068763" cy="495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7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6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90" y="1520829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9" y="2282826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5" y="2282826"/>
            <a:ext cx="342265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Дата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3" name="Нижний колонтитул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E2365B29-0545-45B2-9D0B-4D50EBA2DC8C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138283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8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endParaRPr lang="ru-RU" altLang="ru-RU" dirty="0">
              <a:solidFill>
                <a:srgbClr val="0A3CB4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90" y="390767"/>
            <a:ext cx="5330825" cy="775597"/>
          </a:xfrm>
        </p:spPr>
        <p:txBody>
          <a:bodyPr/>
          <a:lstStyle>
            <a:lvl1pPr>
              <a:defRPr baseline="0">
                <a:solidFill>
                  <a:srgbClr val="00288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90" y="2282826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3"/>
          </p:nvPr>
        </p:nvSpPr>
        <p:spPr>
          <a:xfrm>
            <a:off x="382590" y="1520829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52" y="2282828"/>
            <a:ext cx="5330825" cy="1170577"/>
          </a:xfrm>
          <a:prstGeom prst="rect">
            <a:avLst/>
          </a:prstGeom>
        </p:spPr>
        <p:txBody>
          <a:bodyPr/>
          <a:lstStyle>
            <a:lvl1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1pPr>
            <a:lvl2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2pPr>
            <a:lvl3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3pPr>
            <a:lvl4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4pPr>
            <a:lvl5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altLang="ru-RU" dirty="0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F1F35CC5-68D0-4DD6-9B9D-97905F066D5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13434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873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82590" y="6472242"/>
            <a:ext cx="758825" cy="384175"/>
          </a:xfrm>
          <a:prstGeom prst="rect">
            <a:avLst/>
          </a:prstGeom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F8F8F"/>
                </a:solidFill>
                <a:latin typeface="VTB Group Cond Light"/>
                <a:ea typeface="VTB Group Cond Light"/>
                <a:cs typeface="VTB Group Cond Light"/>
              </a:defRPr>
            </a:lvl1pPr>
          </a:lstStyle>
          <a:p>
            <a:endParaRPr lang="ru-RU" alt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141413" y="6472238"/>
            <a:ext cx="4114800" cy="385762"/>
          </a:xfrm>
          <a:prstGeom prst="rect">
            <a:avLst/>
          </a:prstGeom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F8F8F"/>
                </a:solidFill>
                <a:latin typeface="VTB Group Cond Light"/>
                <a:ea typeface="VTB Group Cond Light"/>
                <a:cs typeface="VTB Group Cond Light"/>
              </a:defRPr>
            </a:lvl1pPr>
          </a:lstStyle>
          <a:p>
            <a:endParaRPr lang="ru-RU" alt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37653" y="6472238"/>
            <a:ext cx="2663825" cy="385762"/>
          </a:xfrm>
          <a:prstGeom prst="rect">
            <a:avLst/>
          </a:prstGeom>
        </p:spPr>
        <p:txBody>
          <a:bodyPr vert="horz" wrap="square" lIns="91440" tIns="0" rIns="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F8F8F"/>
                </a:solidFill>
                <a:latin typeface="VTB Group Cond Light"/>
                <a:ea typeface="VTB Group Cond Light"/>
                <a:cs typeface="VTB Group Cond Light"/>
              </a:defRPr>
            </a:lvl1pPr>
          </a:lstStyle>
          <a:p>
            <a:fld id="{5BC4D835-C631-447E-AEF6-E7B8457CD455}" type="slidenum">
              <a:rPr lang="ru-RU" altLang="ru-RU"/>
              <a:pPr/>
              <a:t>‹#›</a:t>
            </a:fld>
            <a:endParaRPr lang="ru-RU" altLang="ru-RU" dirty="0"/>
          </a:p>
        </p:txBody>
      </p:sp>
      <p:sp>
        <p:nvSpPr>
          <p:cNvPr id="1030" name="Текст 7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79" r:id="rId4"/>
    <p:sldLayoutId id="2147483780" r:id="rId5"/>
    <p:sldLayoutId id="2147483781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82" r:id="rId12"/>
    <p:sldLayoutId id="2147483783" r:id="rId13"/>
    <p:sldLayoutId id="214748382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kern="1200" cap="all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400" kern="1200">
          <a:solidFill>
            <a:srgbClr val="262626"/>
          </a:solidFill>
          <a:latin typeface="VTB Group Cond Light" charset="0"/>
          <a:ea typeface="VTB Group Cond Light" charset="0"/>
          <a:cs typeface="VTB Group Cond Light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400" kern="1200">
          <a:solidFill>
            <a:srgbClr val="262626"/>
          </a:solidFill>
          <a:latin typeface="VTB Group Cond Light" charset="0"/>
          <a:ea typeface="VTB Group Cond Light" charset="0"/>
          <a:cs typeface="VTB Group Cond Light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400" kern="1200">
          <a:solidFill>
            <a:srgbClr val="262626"/>
          </a:solidFill>
          <a:latin typeface="VTB Group Cond Light" charset="0"/>
          <a:ea typeface="VTB Group Cond Light" charset="0"/>
          <a:cs typeface="VTB Group Cond Light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200" kern="1200">
          <a:solidFill>
            <a:srgbClr val="858585"/>
          </a:solidFill>
          <a:latin typeface="VTB Group Cond Light" charset="0"/>
          <a:ea typeface="VTB Group Cond Light" charset="0"/>
          <a:cs typeface="VTB Group Cond Light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200" kern="1200">
          <a:solidFill>
            <a:srgbClr val="858585"/>
          </a:solidFill>
          <a:latin typeface="VTB Group Cond Light" charset="0"/>
          <a:ea typeface="VTB Group Cond Light" charset="0"/>
          <a:cs typeface="VTB Group Cond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873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82588" y="6472238"/>
            <a:ext cx="758825" cy="384175"/>
          </a:xfrm>
          <a:prstGeom prst="rect">
            <a:avLst/>
          </a:prstGeom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F8F8F"/>
                </a:solidFill>
                <a:latin typeface="VTB Group Cond Light"/>
                <a:ea typeface="VTB Group Cond Light"/>
                <a:cs typeface="VTB Group Cond Light"/>
              </a:defRPr>
            </a:lvl1pPr>
          </a:lstStyle>
          <a:p>
            <a:endParaRPr lang="ru-RU" alt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141413" y="6472238"/>
            <a:ext cx="4114800" cy="385762"/>
          </a:xfrm>
          <a:prstGeom prst="rect">
            <a:avLst/>
          </a:prstGeom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8F8F8F"/>
                </a:solidFill>
                <a:latin typeface="VTB Group Cond Light"/>
                <a:ea typeface="VTB Group Cond Light"/>
                <a:cs typeface="VTB Group Cond Light"/>
              </a:defRPr>
            </a:lvl1pPr>
          </a:lstStyle>
          <a:p>
            <a:endParaRPr lang="ru-RU" alt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37650" y="6472238"/>
            <a:ext cx="2663825" cy="385762"/>
          </a:xfrm>
          <a:prstGeom prst="rect">
            <a:avLst/>
          </a:prstGeom>
        </p:spPr>
        <p:txBody>
          <a:bodyPr vert="horz" wrap="square" lIns="91440" tIns="0" rIns="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F8F8F"/>
                </a:solidFill>
                <a:latin typeface="VTB Group Cond Light"/>
                <a:ea typeface="VTB Group Cond Light"/>
                <a:cs typeface="VTB Group Cond Light"/>
              </a:defRPr>
            </a:lvl1pPr>
          </a:lstStyle>
          <a:p>
            <a:fld id="{5BC4D835-C631-447E-AEF6-E7B8457CD455}" type="slidenum">
              <a:rPr lang="ru-RU" altLang="ru-RU"/>
              <a:pPr/>
              <a:t>‹#›</a:t>
            </a:fld>
            <a:endParaRPr lang="ru-RU" altLang="ru-RU" dirty="0"/>
          </a:p>
        </p:txBody>
      </p:sp>
      <p:sp>
        <p:nvSpPr>
          <p:cNvPr id="1030" name="Текст 7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49103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 kern="1200" cap="all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400" kern="1200">
          <a:solidFill>
            <a:srgbClr val="262626"/>
          </a:solidFill>
          <a:latin typeface="VTB Group Cond Light" charset="0"/>
          <a:ea typeface="VTB Group Cond Light" charset="0"/>
          <a:cs typeface="VTB Group Cond Light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400" kern="1200">
          <a:solidFill>
            <a:srgbClr val="262626"/>
          </a:solidFill>
          <a:latin typeface="VTB Group Cond Light" charset="0"/>
          <a:ea typeface="VTB Group Cond Light" charset="0"/>
          <a:cs typeface="VTB Group Cond Light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400" kern="1200">
          <a:solidFill>
            <a:srgbClr val="262626"/>
          </a:solidFill>
          <a:latin typeface="VTB Group Cond Light" charset="0"/>
          <a:ea typeface="VTB Group Cond Light" charset="0"/>
          <a:cs typeface="VTB Group Cond Light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200" kern="1200">
          <a:solidFill>
            <a:srgbClr val="858585"/>
          </a:solidFill>
          <a:latin typeface="VTB Group Cond Light" charset="0"/>
          <a:ea typeface="VTB Group Cond Light" charset="0"/>
          <a:cs typeface="VTB Group Cond Light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00AAFF"/>
        </a:buClr>
        <a:buFont typeface="Arial" pitchFamily="34" charset="0"/>
        <a:buChar char="•"/>
        <a:defRPr sz="1200" kern="1200">
          <a:solidFill>
            <a:srgbClr val="858585"/>
          </a:solidFill>
          <a:latin typeface="VTB Group Cond Light" charset="0"/>
          <a:ea typeface="VTB Group Cond Light" charset="0"/>
          <a:cs typeface="VTB Group Cond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6.png"/><Relationship Id="rId4" Type="http://schemas.openxmlformats.org/officeDocument/2006/relationships/tags" Target="../tags/tag5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8.xml"/><Relationship Id="rId9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7.png"/><Relationship Id="rId4" Type="http://schemas.openxmlformats.org/officeDocument/2006/relationships/tags" Target="../tags/tag11.xml"/><Relationship Id="rId9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3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8.xml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" r="6"/>
          <a:stretch>
            <a:fillRect/>
          </a:stretch>
        </p:blipFill>
        <p:spPr>
          <a:xfrm>
            <a:off x="70340" y="105508"/>
            <a:ext cx="10587828" cy="66645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970568" y="5489803"/>
            <a:ext cx="6816579" cy="1661993"/>
          </a:xfrm>
        </p:spPr>
        <p:txBody>
          <a:bodyPr/>
          <a:lstStyle/>
          <a:p>
            <a:r>
              <a:rPr lang="ru-RU" dirty="0" smtClean="0"/>
              <a:t>Малый и средний </a:t>
            </a:r>
            <a:r>
              <a:rPr lang="ru-RU" dirty="0" smtClean="0"/>
              <a:t>бизнес</a:t>
            </a:r>
            <a:endParaRPr lang="ru-RU" dirty="0"/>
          </a:p>
        </p:txBody>
      </p:sp>
      <p:pic>
        <p:nvPicPr>
          <p:cNvPr id="7" name="Изображение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827" y="-34611"/>
            <a:ext cx="1823811" cy="1045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45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3" y="85884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9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93" y="858840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Прямая соединительная линия 11"/>
          <p:cNvCxnSpPr/>
          <p:nvPr>
            <p:custDataLst>
              <p:tags r:id="rId3"/>
            </p:custDataLst>
          </p:nvPr>
        </p:nvCxnSpPr>
        <p:spPr>
          <a:xfrm>
            <a:off x="431371" y="664859"/>
            <a:ext cx="1921224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Изображение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827" y="-34611"/>
            <a:ext cx="1823811" cy="1045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31371" y="361313"/>
            <a:ext cx="9143452" cy="372525"/>
          </a:xfrm>
        </p:spPr>
        <p:txBody>
          <a:bodyPr>
            <a:no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Банке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1938868"/>
            <a:ext cx="3186821" cy="1912163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3250194" y="1066424"/>
            <a:ext cx="8292975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>
                <a:solidFill>
                  <a:srgbClr val="002882"/>
                </a:solidFill>
              </a:rPr>
              <a:t>Банк ВТБ (Беларусь) работает на рынке Республики Беларусь с 1996 года и стабильно входит в десятку крупнейших банков </a:t>
            </a:r>
            <a:r>
              <a:rPr lang="ru-RU" sz="2000" dirty="0" smtClean="0">
                <a:solidFill>
                  <a:srgbClr val="002882"/>
                </a:solidFill>
              </a:rPr>
              <a:t>страны</a:t>
            </a:r>
          </a:p>
          <a:p>
            <a:pPr algn="just"/>
            <a:endParaRPr lang="ru-RU" sz="2000" dirty="0" smtClean="0">
              <a:solidFill>
                <a:srgbClr val="002882"/>
              </a:solidFill>
            </a:endParaRPr>
          </a:p>
          <a:p>
            <a:pPr algn="just"/>
            <a:r>
              <a:rPr lang="ru-RU" sz="2000" dirty="0">
                <a:solidFill>
                  <a:srgbClr val="002882"/>
                </a:solidFill>
              </a:rPr>
              <a:t>Банк ВТБ (Беларусь)</a:t>
            </a:r>
            <a:r>
              <a:rPr lang="ru-RU" sz="2000" dirty="0" smtClean="0">
                <a:solidFill>
                  <a:srgbClr val="002882"/>
                </a:solidFill>
              </a:rPr>
              <a:t> </a:t>
            </a:r>
            <a:r>
              <a:rPr lang="ru-RU" sz="2000" dirty="0">
                <a:solidFill>
                  <a:srgbClr val="002882"/>
                </a:solidFill>
              </a:rPr>
              <a:t>обладает уникальной для банков СНГ международной сетью </a:t>
            </a:r>
            <a:r>
              <a:rPr lang="ru-RU" sz="2000" dirty="0" smtClean="0">
                <a:solidFill>
                  <a:srgbClr val="002882"/>
                </a:solidFill>
              </a:rPr>
              <a:t>(входит </a:t>
            </a:r>
            <a:r>
              <a:rPr lang="ru-RU" sz="2000" dirty="0">
                <a:solidFill>
                  <a:srgbClr val="002882"/>
                </a:solidFill>
              </a:rPr>
              <a:t>в международную финансовую группу </a:t>
            </a:r>
            <a:r>
              <a:rPr lang="ru-RU" sz="2000" dirty="0" smtClean="0">
                <a:solidFill>
                  <a:srgbClr val="002882"/>
                </a:solidFill>
              </a:rPr>
              <a:t>ВТБ) тем </a:t>
            </a:r>
            <a:r>
              <a:rPr lang="ru-RU" sz="2000" dirty="0">
                <a:solidFill>
                  <a:srgbClr val="002882"/>
                </a:solidFill>
              </a:rPr>
              <a:t>самым содействуя развитию международного сотрудничества и продвижению отечественных предприятий на зарубежные рынки</a:t>
            </a:r>
            <a:r>
              <a:rPr lang="ru-RU" sz="2000" dirty="0" smtClean="0">
                <a:solidFill>
                  <a:srgbClr val="002882"/>
                </a:solidFill>
              </a:rPr>
              <a:t>.</a:t>
            </a:r>
          </a:p>
          <a:p>
            <a:pPr algn="just"/>
            <a:endParaRPr lang="ru-RU" sz="2000" dirty="0" smtClean="0">
              <a:solidFill>
                <a:srgbClr val="002882"/>
              </a:solidFill>
            </a:endParaRPr>
          </a:p>
          <a:p>
            <a:pPr algn="just"/>
            <a:r>
              <a:rPr lang="ru-RU" sz="2000" dirty="0">
                <a:solidFill>
                  <a:srgbClr val="002882"/>
                </a:solidFill>
              </a:rPr>
              <a:t>Банк ВТБ (Беларусь) </a:t>
            </a:r>
            <a:r>
              <a:rPr lang="ru-RU" sz="2000" dirty="0" smtClean="0">
                <a:solidFill>
                  <a:srgbClr val="002882"/>
                </a:solidFill>
              </a:rPr>
              <a:t>универсальный банк, осуществляет обслуживание розничных и корпоративных клиентов</a:t>
            </a:r>
            <a:endParaRPr lang="ru-RU" sz="2000" dirty="0">
              <a:solidFill>
                <a:srgbClr val="0028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805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3" y="85884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9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93" y="858840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Изображение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827" y="-34611"/>
            <a:ext cx="1823811" cy="1045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413521" y="736394"/>
            <a:ext cx="11129931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>
                <a:solidFill>
                  <a:srgbClr val="002882"/>
                </a:solidFill>
              </a:rPr>
              <a:t>Средний </a:t>
            </a:r>
            <a:r>
              <a:rPr lang="ru-RU" sz="2000" dirty="0">
                <a:solidFill>
                  <a:srgbClr val="002882"/>
                </a:solidFill>
              </a:rPr>
              <a:t>бизнес – </a:t>
            </a:r>
            <a:r>
              <a:rPr lang="ru-RU" sz="2000" dirty="0" smtClean="0">
                <a:solidFill>
                  <a:srgbClr val="002882"/>
                </a:solidFill>
              </a:rPr>
              <a:t>годовая выручка </a:t>
            </a:r>
            <a:r>
              <a:rPr lang="ru-RU" sz="2000" dirty="0">
                <a:solidFill>
                  <a:srgbClr val="002882"/>
                </a:solidFill>
              </a:rPr>
              <a:t>в эквиваленте </a:t>
            </a:r>
            <a:r>
              <a:rPr lang="ru-RU" sz="2000" dirty="0" smtClean="0">
                <a:solidFill>
                  <a:srgbClr val="002882"/>
                </a:solidFill>
              </a:rPr>
              <a:t>6-100 </a:t>
            </a:r>
            <a:r>
              <a:rPr lang="ru-RU" sz="2000" dirty="0">
                <a:solidFill>
                  <a:srgbClr val="002882"/>
                </a:solidFill>
              </a:rPr>
              <a:t>млн. долларов </a:t>
            </a:r>
            <a:r>
              <a:rPr lang="ru-RU" sz="2000" dirty="0" smtClean="0">
                <a:solidFill>
                  <a:srgbClr val="002882"/>
                </a:solidFill>
              </a:rPr>
              <a:t>США</a:t>
            </a:r>
          </a:p>
          <a:p>
            <a:pPr algn="just"/>
            <a:r>
              <a:rPr lang="ru-RU" sz="2000" dirty="0">
                <a:solidFill>
                  <a:srgbClr val="002882"/>
                </a:solidFill>
              </a:rPr>
              <a:t>Малый бизнес – </a:t>
            </a:r>
            <a:r>
              <a:rPr lang="ru-RU" sz="2000" dirty="0" smtClean="0">
                <a:solidFill>
                  <a:srgbClr val="002882"/>
                </a:solidFill>
              </a:rPr>
              <a:t>годовая выручка </a:t>
            </a:r>
            <a:r>
              <a:rPr lang="ru-RU" sz="2000" dirty="0">
                <a:solidFill>
                  <a:srgbClr val="002882"/>
                </a:solidFill>
              </a:rPr>
              <a:t>в эквиваленте до 6 млн. долларов США</a:t>
            </a:r>
          </a:p>
          <a:p>
            <a:pPr algn="just"/>
            <a:endParaRPr lang="ru-RU" sz="2000" dirty="0" smtClean="0"/>
          </a:p>
          <a:p>
            <a:pPr algn="just"/>
            <a:r>
              <a:rPr lang="ru-RU" sz="2000" b="1" dirty="0" smtClean="0"/>
              <a:t>Собственные программы финансирования Малого бизнеса</a:t>
            </a:r>
            <a:r>
              <a:rPr lang="en-US" sz="2000" dirty="0" smtClean="0"/>
              <a:t>:</a:t>
            </a:r>
            <a:endParaRPr lang="ru-RU" sz="2000" dirty="0" smtClean="0"/>
          </a:p>
          <a:p>
            <a:pPr algn="just"/>
            <a:r>
              <a:rPr lang="ru-RU" sz="2000" dirty="0" smtClean="0"/>
              <a:t>- Краткосрочное/долгосрочное финансирование, банковские гарантии </a:t>
            </a:r>
          </a:p>
          <a:p>
            <a:pPr algn="just"/>
            <a:r>
              <a:rPr lang="ru-RU" sz="2000" dirty="0" smtClean="0">
                <a:solidFill>
                  <a:srgbClr val="002882"/>
                </a:solidFill>
              </a:rPr>
              <a:t>Срок </a:t>
            </a:r>
            <a:r>
              <a:rPr lang="ru-RU" sz="2000" dirty="0">
                <a:solidFill>
                  <a:srgbClr val="002882"/>
                </a:solidFill>
              </a:rPr>
              <a:t>деятельности кредитополучателя - не менее 6 месяцев</a:t>
            </a:r>
          </a:p>
          <a:p>
            <a:pPr algn="just"/>
            <a:r>
              <a:rPr lang="ru-RU" sz="2000" dirty="0">
                <a:solidFill>
                  <a:srgbClr val="002882"/>
                </a:solidFill>
              </a:rPr>
              <a:t>Срок кредитования - до 5 лет</a:t>
            </a:r>
          </a:p>
          <a:p>
            <a:pPr algn="just"/>
            <a:r>
              <a:rPr lang="ru-RU" sz="2000" dirty="0">
                <a:solidFill>
                  <a:srgbClr val="002882"/>
                </a:solidFill>
              </a:rPr>
              <a:t>Валюта финансирования – </a:t>
            </a:r>
            <a:r>
              <a:rPr lang="en-US" sz="2000" dirty="0">
                <a:solidFill>
                  <a:srgbClr val="002882"/>
                </a:solidFill>
              </a:rPr>
              <a:t>BYN</a:t>
            </a:r>
            <a:r>
              <a:rPr lang="ru-RU" sz="2000" dirty="0">
                <a:solidFill>
                  <a:srgbClr val="002882"/>
                </a:solidFill>
              </a:rPr>
              <a:t>, </a:t>
            </a:r>
            <a:r>
              <a:rPr lang="en-US" sz="2000" dirty="0">
                <a:solidFill>
                  <a:srgbClr val="002882"/>
                </a:solidFill>
              </a:rPr>
              <a:t>RUB</a:t>
            </a:r>
            <a:r>
              <a:rPr lang="ru-RU" sz="2000" dirty="0">
                <a:solidFill>
                  <a:srgbClr val="002882"/>
                </a:solidFill>
              </a:rPr>
              <a:t>, </a:t>
            </a:r>
            <a:r>
              <a:rPr lang="en-US" sz="2000" dirty="0">
                <a:solidFill>
                  <a:srgbClr val="002882"/>
                </a:solidFill>
              </a:rPr>
              <a:t>UAH</a:t>
            </a:r>
            <a:endParaRPr lang="ru-RU" sz="2000" dirty="0">
              <a:solidFill>
                <a:srgbClr val="002882"/>
              </a:solidFill>
            </a:endParaRPr>
          </a:p>
          <a:p>
            <a:pPr algn="just"/>
            <a:r>
              <a:rPr lang="ru-RU" sz="2000" dirty="0"/>
              <a:t>- Моментальные кредиты по системе </a:t>
            </a:r>
            <a:r>
              <a:rPr lang="ru-RU" sz="2000" dirty="0" err="1"/>
              <a:t>скоринга</a:t>
            </a:r>
            <a:endParaRPr lang="ru-RU" sz="2000" dirty="0"/>
          </a:p>
          <a:p>
            <a:pPr algn="just"/>
            <a:r>
              <a:rPr lang="ru-RU" sz="2000" dirty="0" smtClean="0"/>
              <a:t>- Онлайн кредитование</a:t>
            </a:r>
          </a:p>
          <a:p>
            <a:pPr algn="just"/>
            <a:endParaRPr lang="ru-RU" sz="2000" dirty="0" smtClean="0"/>
          </a:p>
          <a:p>
            <a:pPr algn="just"/>
            <a:r>
              <a:rPr lang="ru-RU" sz="2000" b="1" dirty="0" smtClean="0"/>
              <a:t>Участие в программах финансовой поддержки МСП</a:t>
            </a:r>
            <a:r>
              <a:rPr lang="en-US" sz="2000" b="1" dirty="0" smtClean="0"/>
              <a:t>:</a:t>
            </a:r>
            <a:r>
              <a:rPr lang="ru-RU" sz="2000" dirty="0" smtClean="0"/>
              <a:t> </a:t>
            </a:r>
          </a:p>
          <a:p>
            <a:pPr algn="just"/>
            <a:r>
              <a:rPr lang="ru-RU" dirty="0" smtClean="0"/>
              <a:t> - </a:t>
            </a:r>
            <a:r>
              <a:rPr lang="ru-RU" sz="2000" dirty="0"/>
              <a:t>государственная финансовая поддержка в рамках Указа Президента Республики Беларусь от 21 мая 2009 г. № 255 «О некоторых мерах государственной поддержки малого предпринимательства»</a:t>
            </a:r>
          </a:p>
          <a:p>
            <a:pPr marL="342900" indent="-342900">
              <a:buFontTx/>
              <a:buChar char="-"/>
            </a:pPr>
            <a:r>
              <a:rPr lang="ru-RU" sz="2000" dirty="0" smtClean="0"/>
              <a:t>программа «Поддержка МСП» Банка Развития</a:t>
            </a:r>
          </a:p>
          <a:p>
            <a:pPr marL="342900" indent="-342900">
              <a:buFontTx/>
              <a:buChar char="-"/>
            </a:pPr>
            <a:r>
              <a:rPr lang="ru-RU" sz="2000" dirty="0" smtClean="0"/>
              <a:t>гарантийное </a:t>
            </a:r>
            <a:r>
              <a:rPr lang="ru-RU" sz="2000" dirty="0"/>
              <a:t>обеспечение со стороны Белорусского фонда финансовой поддержки </a:t>
            </a:r>
            <a:r>
              <a:rPr lang="ru-RU" sz="2000" dirty="0" smtClean="0"/>
              <a:t>предпринимателей</a:t>
            </a:r>
          </a:p>
        </p:txBody>
      </p:sp>
      <p:cxnSp>
        <p:nvCxnSpPr>
          <p:cNvPr id="11" name="Прямая соединительная линия 10"/>
          <p:cNvCxnSpPr/>
          <p:nvPr>
            <p:custDataLst>
              <p:tags r:id="rId3"/>
            </p:custDataLst>
          </p:nvPr>
        </p:nvCxnSpPr>
        <p:spPr>
          <a:xfrm>
            <a:off x="431371" y="664859"/>
            <a:ext cx="2577300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31371" y="361313"/>
            <a:ext cx="9143452" cy="372525"/>
          </a:xfrm>
        </p:spPr>
        <p:txBody>
          <a:bodyPr>
            <a:no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ы для бизнеса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57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3" y="85884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9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93" y="858840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Изображение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827" y="-34611"/>
            <a:ext cx="1823811" cy="1045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Прямая соединительная линия 10"/>
          <p:cNvCxnSpPr/>
          <p:nvPr>
            <p:custDataLst>
              <p:tags r:id="rId3"/>
            </p:custDataLst>
          </p:nvPr>
        </p:nvCxnSpPr>
        <p:spPr>
          <a:xfrm>
            <a:off x="431371" y="664859"/>
            <a:ext cx="4583081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31371" y="361313"/>
            <a:ext cx="9143452" cy="372525"/>
          </a:xfrm>
        </p:spPr>
        <p:txBody>
          <a:bodyPr>
            <a:no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граничные платежи </a:t>
            </a:r>
            <a:r>
              <a:rPr lang="ru-RU" sz="1600" dirty="0">
                <a:solidFill>
                  <a:schemeClr val="bg2">
                    <a:lumMod val="75000"/>
                  </a:schemeClr>
                </a:solidFill>
              </a:rPr>
              <a:t>КИТАЙ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289"/>
          <p:cNvPicPr/>
          <p:nvPr/>
        </p:nvPicPr>
        <p:blipFill>
          <a:blip r:embed="rId10"/>
          <a:stretch/>
        </p:blipFill>
        <p:spPr>
          <a:xfrm>
            <a:off x="4309527" y="200201"/>
            <a:ext cx="360781" cy="359705"/>
          </a:xfrm>
          <a:prstGeom prst="rect">
            <a:avLst/>
          </a:prstGeom>
          <a:ln w="0">
            <a:noFill/>
          </a:ln>
        </p:spPr>
      </p:pic>
      <p:sp>
        <p:nvSpPr>
          <p:cNvPr id="13" name="Прямоугольник 12"/>
          <p:cNvSpPr/>
          <p:nvPr/>
        </p:nvSpPr>
        <p:spPr>
          <a:xfrm>
            <a:off x="521379" y="1960976"/>
            <a:ext cx="5436000" cy="29207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15936" y="1054714"/>
            <a:ext cx="5435999" cy="5048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ГАРАНТИРОВАННАЯ</a:t>
            </a:r>
          </a:p>
          <a:p>
            <a:pPr algn="ctr"/>
            <a:r>
              <a:rPr lang="ru-RU" sz="1000" dirty="0" smtClean="0"/>
              <a:t>СХЕМА ПРОХОЖДЕНИЯ ПЛАТЕЖА</a:t>
            </a:r>
            <a:endParaRPr lang="ru-RU" sz="10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556267" y="4930837"/>
            <a:ext cx="11010945" cy="1507101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ru-RU" sz="1100" b="1" dirty="0" smtClean="0">
                <a:solidFill>
                  <a:schemeClr val="accent1"/>
                </a:solidFill>
              </a:rPr>
              <a:t>ПРЕИМУЩЕСТВА РАБОТЫ ПО ГАРАНТИРОВАННОЙ СХЕМЕ ПРОВЕДЕНИЯ ПЛАТЕЖЕЙ</a:t>
            </a:r>
            <a:endParaRPr lang="en-US" sz="1100" b="1" dirty="0" smtClean="0">
              <a:solidFill>
                <a:schemeClr val="accent1"/>
              </a:solidFill>
            </a:endParaRPr>
          </a:p>
          <a:p>
            <a:endParaRPr lang="ru-RU" sz="1100" b="1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tx1"/>
                </a:solidFill>
              </a:rPr>
              <a:t>ВТБ Шанхай прямой участник </a:t>
            </a:r>
            <a:r>
              <a:rPr lang="en-US" sz="1100" dirty="0" smtClean="0">
                <a:solidFill>
                  <a:schemeClr val="tx1"/>
                </a:solidFill>
              </a:rPr>
              <a:t>CNA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tx1"/>
                </a:solidFill>
              </a:rPr>
              <a:t>Информация доступна только участникам сделки и регуляторам Республики Беларусь и </a:t>
            </a:r>
            <a:r>
              <a:rPr lang="ru-RU" sz="1100" dirty="0" smtClean="0">
                <a:solidFill>
                  <a:schemeClr val="tx1"/>
                </a:solidFill>
              </a:rPr>
              <a:t>Кита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err="1" smtClean="0">
                <a:solidFill>
                  <a:schemeClr val="tx1"/>
                </a:solidFill>
              </a:rPr>
              <a:t>Мультиязычные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>
                <a:solidFill>
                  <a:schemeClr val="tx1"/>
                </a:solidFill>
              </a:rPr>
              <a:t>менеджеры (английский, русский, китайский </a:t>
            </a:r>
            <a:r>
              <a:rPr lang="ru-RU" sz="1100" dirty="0" smtClean="0">
                <a:solidFill>
                  <a:schemeClr val="tx1"/>
                </a:solidFill>
              </a:rPr>
              <a:t>языки) ВТБ </a:t>
            </a:r>
            <a:r>
              <a:rPr lang="ru-RU" sz="1100" dirty="0">
                <a:solidFill>
                  <a:schemeClr val="tx1"/>
                </a:solidFill>
              </a:rPr>
              <a:t>Шанхай </a:t>
            </a:r>
            <a:r>
              <a:rPr lang="ru-RU" sz="1100" dirty="0" smtClean="0">
                <a:solidFill>
                  <a:schemeClr val="tx1"/>
                </a:solidFill>
              </a:rPr>
              <a:t>оказывают помощь в работе с контрагентами по открытию сче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kern="0" dirty="0">
                <a:solidFill>
                  <a:schemeClr val="tx1"/>
                </a:solidFill>
                <a:cs typeface="Arial" panose="020B0604020202020204" pitchFamily="34" charset="0"/>
              </a:rPr>
              <a:t>Расчеты защищены и конфиденциальны. </a:t>
            </a:r>
            <a:r>
              <a:rPr lang="ru-RU" sz="1100" b="1" kern="0" dirty="0">
                <a:solidFill>
                  <a:schemeClr val="tx1"/>
                </a:solidFill>
                <a:cs typeface="Arial" panose="020B0604020202020204" pitchFamily="34" charset="0"/>
              </a:rPr>
              <a:t>ВТБ Беларусь </a:t>
            </a:r>
            <a:r>
              <a:rPr lang="ru-RU" sz="1100" kern="0" dirty="0">
                <a:solidFill>
                  <a:schemeClr val="tx1"/>
                </a:solidFill>
                <a:cs typeface="Arial" panose="020B0604020202020204" pitchFamily="34" charset="0"/>
              </a:rPr>
              <a:t>использует закрытые каналы связи Группы ВТБ и китайской системы CNAPS</a:t>
            </a:r>
            <a:r>
              <a:rPr lang="en-US" sz="1100" kern="0" dirty="0">
                <a:solidFill>
                  <a:schemeClr val="tx1"/>
                </a:solidFill>
                <a:cs typeface="Arial" panose="020B0604020202020204" pitchFamily="34" charset="0"/>
              </a:rPr>
              <a:t> INT</a:t>
            </a:r>
            <a:endParaRPr lang="ru-RU" sz="1100" dirty="0" smtClean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kern="0" dirty="0" smtClean="0">
                <a:cs typeface="Arial" panose="020B0604020202020204" pitchFamily="34" charset="0"/>
              </a:rPr>
              <a:t>каналы </a:t>
            </a:r>
            <a:r>
              <a:rPr lang="ru-RU" sz="1100" kern="0" dirty="0">
                <a:cs typeface="Arial" panose="020B0604020202020204" pitchFamily="34" charset="0"/>
              </a:rPr>
              <a:t>связи Группы ВТБ и китайской системы CNAPS</a:t>
            </a:r>
            <a:r>
              <a:rPr lang="en-US" sz="1100" kern="0" dirty="0">
                <a:cs typeface="Arial" panose="020B0604020202020204" pitchFamily="34" charset="0"/>
              </a:rPr>
              <a:t> INT</a:t>
            </a:r>
            <a:r>
              <a:rPr lang="ru-RU" sz="1100" kern="0" dirty="0">
                <a:cs typeface="Arial" panose="020B0604020202020204" pitchFamily="34" charset="0"/>
              </a:rPr>
              <a:t>,</a:t>
            </a:r>
            <a:endParaRPr lang="ru-RU" sz="1100" dirty="0" smtClean="0">
              <a:solidFill>
                <a:schemeClr val="tx1"/>
              </a:solidFill>
            </a:endParaRPr>
          </a:p>
        </p:txBody>
      </p:sp>
      <p:sp>
        <p:nvSpPr>
          <p:cNvPr id="17" name="Блок-схема: данные 16"/>
          <p:cNvSpPr/>
          <p:nvPr/>
        </p:nvSpPr>
        <p:spPr>
          <a:xfrm>
            <a:off x="548185" y="1684586"/>
            <a:ext cx="261019" cy="161583"/>
          </a:xfrm>
          <a:prstGeom prst="flowChartInputOutpu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6350">
            <a:solidFill>
              <a:schemeClr val="bg1">
                <a:lumMod val="50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866C004-2ABB-C84F-9FE6-87F32E02A080}"/>
              </a:ext>
            </a:extLst>
          </p:cNvPr>
          <p:cNvSpPr txBox="1"/>
          <p:nvPr/>
        </p:nvSpPr>
        <p:spPr>
          <a:xfrm>
            <a:off x="946818" y="1692281"/>
            <a:ext cx="482221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latin typeface="+mj-lt"/>
              </a:rPr>
              <a:t>При условии открытия счета в ВТБ Шанхай резиденту КНР</a:t>
            </a:r>
            <a:endParaRPr lang="ru-RU" sz="1000" dirty="0">
              <a:latin typeface="+mj-lt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964444" y="2058796"/>
            <a:ext cx="4506764" cy="2293662"/>
            <a:chOff x="948904" y="2003747"/>
            <a:chExt cx="4506764" cy="2293662"/>
          </a:xfrm>
        </p:grpSpPr>
        <p:pic>
          <p:nvPicPr>
            <p:cNvPr id="20" name="Изображение 8"/>
            <p:cNvPicPr/>
            <p:nvPr/>
          </p:nvPicPr>
          <p:blipFill>
            <a:blip r:embed="rId11"/>
            <a:stretch/>
          </p:blipFill>
          <p:spPr>
            <a:xfrm>
              <a:off x="948904" y="2089392"/>
              <a:ext cx="1364281" cy="781630"/>
            </a:xfrm>
            <a:prstGeom prst="rect">
              <a:avLst/>
            </a:prstGeom>
            <a:ln w="0">
              <a:noFill/>
            </a:ln>
          </p:spPr>
        </p:pic>
        <p:cxnSp>
          <p:nvCxnSpPr>
            <p:cNvPr id="21" name="Прямая со стрелкой 20"/>
            <p:cNvCxnSpPr/>
            <p:nvPr/>
          </p:nvCxnSpPr>
          <p:spPr>
            <a:xfrm>
              <a:off x="2212173" y="2539409"/>
              <a:ext cx="1907375" cy="10462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 стрелкой 21"/>
            <p:cNvCxnSpPr/>
            <p:nvPr/>
          </p:nvCxnSpPr>
          <p:spPr>
            <a:xfrm>
              <a:off x="2210520" y="2831754"/>
              <a:ext cx="1909028" cy="294"/>
            </a:xfrm>
            <a:prstGeom prst="straightConnector1">
              <a:avLst/>
            </a:prstGeom>
            <a:ln cap="rnd">
              <a:solidFill>
                <a:schemeClr val="tx2">
                  <a:lumMod val="75000"/>
                </a:schemeClr>
              </a:solidFill>
              <a:prstDash val="sysDash"/>
              <a:bevel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 стрелкой 22"/>
            <p:cNvCxnSpPr/>
            <p:nvPr/>
          </p:nvCxnSpPr>
          <p:spPr>
            <a:xfrm>
              <a:off x="4653249" y="3076831"/>
              <a:ext cx="8312" cy="794873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Graphic 2">
              <a:extLst>
                <a:ext uri="{FF2B5EF4-FFF2-40B4-BE49-F238E27FC236}">
                  <a16:creationId xmlns:a16="http://schemas.microsoft.com/office/drawing/2014/main" id="{DC27E674-FBFC-F143-8704-31D1A24ECC3F}"/>
                </a:ext>
              </a:extLst>
            </p:cNvPr>
            <p:cNvGrpSpPr/>
            <p:nvPr/>
          </p:nvGrpSpPr>
          <p:grpSpPr>
            <a:xfrm>
              <a:off x="4509599" y="3993336"/>
              <a:ext cx="303924" cy="304073"/>
              <a:chOff x="2365815" y="1271968"/>
              <a:chExt cx="373006" cy="373189"/>
            </a:xfrm>
            <a:solidFill>
              <a:srgbClr val="000000"/>
            </a:solidFill>
          </p:grpSpPr>
          <p:grpSp>
            <p:nvGrpSpPr>
              <p:cNvPr id="34" name="Graphic 2">
                <a:extLst>
                  <a:ext uri="{FF2B5EF4-FFF2-40B4-BE49-F238E27FC236}">
                    <a16:creationId xmlns:a16="http://schemas.microsoft.com/office/drawing/2014/main" id="{F6D6EFD2-1B49-A641-9BFC-521ECB23F21B}"/>
                  </a:ext>
                </a:extLst>
              </p:cNvPr>
              <p:cNvGrpSpPr/>
              <p:nvPr/>
            </p:nvGrpSpPr>
            <p:grpSpPr>
              <a:xfrm>
                <a:off x="2406396" y="1395983"/>
                <a:ext cx="292607" cy="160020"/>
                <a:chOff x="2406396" y="1395983"/>
                <a:chExt cx="292607" cy="160020"/>
              </a:xfrm>
              <a:solidFill>
                <a:srgbClr val="000000"/>
              </a:solidFill>
            </p:grpSpPr>
            <p:sp>
              <p:nvSpPr>
                <p:cNvPr id="37" name="Freeform 1332">
                  <a:extLst>
                    <a:ext uri="{FF2B5EF4-FFF2-40B4-BE49-F238E27FC236}">
                      <a16:creationId xmlns:a16="http://schemas.microsoft.com/office/drawing/2014/main" id="{2C7B16BC-6775-3442-8EFA-CB0D33676F0A}"/>
                    </a:ext>
                  </a:extLst>
                </p:cNvPr>
                <p:cNvSpPr/>
                <p:nvPr/>
              </p:nvSpPr>
              <p:spPr>
                <a:xfrm>
                  <a:off x="2406396" y="1395983"/>
                  <a:ext cx="70103" cy="160020"/>
                </a:xfrm>
                <a:custGeom>
                  <a:avLst/>
                  <a:gdLst>
                    <a:gd name="connsiteX0" fmla="*/ 62484 w 70103"/>
                    <a:gd name="connsiteY0" fmla="*/ 160020 h 160020"/>
                    <a:gd name="connsiteX1" fmla="*/ 7620 w 70103"/>
                    <a:gd name="connsiteY1" fmla="*/ 160020 h 160020"/>
                    <a:gd name="connsiteX2" fmla="*/ 0 w 70103"/>
                    <a:gd name="connsiteY2" fmla="*/ 152400 h 160020"/>
                    <a:gd name="connsiteX3" fmla="*/ 0 w 70103"/>
                    <a:gd name="connsiteY3" fmla="*/ 7620 h 160020"/>
                    <a:gd name="connsiteX4" fmla="*/ 7620 w 70103"/>
                    <a:gd name="connsiteY4" fmla="*/ 0 h 160020"/>
                    <a:gd name="connsiteX5" fmla="*/ 62484 w 70103"/>
                    <a:gd name="connsiteY5" fmla="*/ 0 h 160020"/>
                    <a:gd name="connsiteX6" fmla="*/ 70104 w 70103"/>
                    <a:gd name="connsiteY6" fmla="*/ 7620 h 160020"/>
                    <a:gd name="connsiteX7" fmla="*/ 70104 w 70103"/>
                    <a:gd name="connsiteY7" fmla="*/ 152400 h 160020"/>
                    <a:gd name="connsiteX8" fmla="*/ 62484 w 70103"/>
                    <a:gd name="connsiteY8" fmla="*/ 160020 h 160020"/>
                    <a:gd name="connsiteX9" fmla="*/ 16002 w 70103"/>
                    <a:gd name="connsiteY9" fmla="*/ 144780 h 160020"/>
                    <a:gd name="connsiteX10" fmla="*/ 55626 w 70103"/>
                    <a:gd name="connsiteY10" fmla="*/ 144780 h 160020"/>
                    <a:gd name="connsiteX11" fmla="*/ 55626 w 70103"/>
                    <a:gd name="connsiteY11" fmla="*/ 15240 h 160020"/>
                    <a:gd name="connsiteX12" fmla="*/ 16002 w 70103"/>
                    <a:gd name="connsiteY12" fmla="*/ 15240 h 160020"/>
                    <a:gd name="connsiteX13" fmla="*/ 16002 w 70103"/>
                    <a:gd name="connsiteY13" fmla="*/ 144780 h 160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0103" h="160020">
                      <a:moveTo>
                        <a:pt x="62484" y="160020"/>
                      </a:moveTo>
                      <a:lnTo>
                        <a:pt x="7620" y="160020"/>
                      </a:lnTo>
                      <a:cubicBezTo>
                        <a:pt x="3048" y="160020"/>
                        <a:pt x="0" y="156972"/>
                        <a:pt x="0" y="152400"/>
                      </a:cubicBezTo>
                      <a:lnTo>
                        <a:pt x="0" y="7620"/>
                      </a:lnTo>
                      <a:cubicBezTo>
                        <a:pt x="0" y="3048"/>
                        <a:pt x="3048" y="0"/>
                        <a:pt x="7620" y="0"/>
                      </a:cubicBezTo>
                      <a:lnTo>
                        <a:pt x="62484" y="0"/>
                      </a:lnTo>
                      <a:cubicBezTo>
                        <a:pt x="67056" y="0"/>
                        <a:pt x="70104" y="3048"/>
                        <a:pt x="70104" y="7620"/>
                      </a:cubicBezTo>
                      <a:lnTo>
                        <a:pt x="70104" y="152400"/>
                      </a:lnTo>
                      <a:cubicBezTo>
                        <a:pt x="70104" y="156972"/>
                        <a:pt x="67056" y="160020"/>
                        <a:pt x="62484" y="160020"/>
                      </a:cubicBezTo>
                      <a:close/>
                      <a:moveTo>
                        <a:pt x="16002" y="144780"/>
                      </a:moveTo>
                      <a:lnTo>
                        <a:pt x="55626" y="144780"/>
                      </a:lnTo>
                      <a:lnTo>
                        <a:pt x="55626" y="15240"/>
                      </a:lnTo>
                      <a:lnTo>
                        <a:pt x="16002" y="15240"/>
                      </a:lnTo>
                      <a:lnTo>
                        <a:pt x="16002" y="1447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76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dirty="0"/>
                </a:p>
              </p:txBody>
            </p:sp>
            <p:sp>
              <p:nvSpPr>
                <p:cNvPr id="38" name="Freeform 1333">
                  <a:extLst>
                    <a:ext uri="{FF2B5EF4-FFF2-40B4-BE49-F238E27FC236}">
                      <a16:creationId xmlns:a16="http://schemas.microsoft.com/office/drawing/2014/main" id="{F07D6DA1-C0BD-E244-B655-75A854919779}"/>
                    </a:ext>
                  </a:extLst>
                </p:cNvPr>
                <p:cNvSpPr/>
                <p:nvPr/>
              </p:nvSpPr>
              <p:spPr>
                <a:xfrm>
                  <a:off x="2517648" y="1395983"/>
                  <a:ext cx="70103" cy="160020"/>
                </a:xfrm>
                <a:custGeom>
                  <a:avLst/>
                  <a:gdLst>
                    <a:gd name="connsiteX0" fmla="*/ 62484 w 70103"/>
                    <a:gd name="connsiteY0" fmla="*/ 160020 h 160020"/>
                    <a:gd name="connsiteX1" fmla="*/ 7620 w 70103"/>
                    <a:gd name="connsiteY1" fmla="*/ 160020 h 160020"/>
                    <a:gd name="connsiteX2" fmla="*/ 0 w 70103"/>
                    <a:gd name="connsiteY2" fmla="*/ 152400 h 160020"/>
                    <a:gd name="connsiteX3" fmla="*/ 0 w 70103"/>
                    <a:gd name="connsiteY3" fmla="*/ 7620 h 160020"/>
                    <a:gd name="connsiteX4" fmla="*/ 7620 w 70103"/>
                    <a:gd name="connsiteY4" fmla="*/ 0 h 160020"/>
                    <a:gd name="connsiteX5" fmla="*/ 62484 w 70103"/>
                    <a:gd name="connsiteY5" fmla="*/ 0 h 160020"/>
                    <a:gd name="connsiteX6" fmla="*/ 70104 w 70103"/>
                    <a:gd name="connsiteY6" fmla="*/ 7620 h 160020"/>
                    <a:gd name="connsiteX7" fmla="*/ 70104 w 70103"/>
                    <a:gd name="connsiteY7" fmla="*/ 152400 h 160020"/>
                    <a:gd name="connsiteX8" fmla="*/ 62484 w 70103"/>
                    <a:gd name="connsiteY8" fmla="*/ 160020 h 160020"/>
                    <a:gd name="connsiteX9" fmla="*/ 15240 w 70103"/>
                    <a:gd name="connsiteY9" fmla="*/ 144780 h 160020"/>
                    <a:gd name="connsiteX10" fmla="*/ 54864 w 70103"/>
                    <a:gd name="connsiteY10" fmla="*/ 144780 h 160020"/>
                    <a:gd name="connsiteX11" fmla="*/ 54864 w 70103"/>
                    <a:gd name="connsiteY11" fmla="*/ 15240 h 160020"/>
                    <a:gd name="connsiteX12" fmla="*/ 15240 w 70103"/>
                    <a:gd name="connsiteY12" fmla="*/ 15240 h 160020"/>
                    <a:gd name="connsiteX13" fmla="*/ 15240 w 70103"/>
                    <a:gd name="connsiteY13" fmla="*/ 144780 h 160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0103" h="160020">
                      <a:moveTo>
                        <a:pt x="62484" y="160020"/>
                      </a:moveTo>
                      <a:lnTo>
                        <a:pt x="7620" y="160020"/>
                      </a:lnTo>
                      <a:cubicBezTo>
                        <a:pt x="3048" y="160020"/>
                        <a:pt x="0" y="156972"/>
                        <a:pt x="0" y="152400"/>
                      </a:cubicBezTo>
                      <a:lnTo>
                        <a:pt x="0" y="7620"/>
                      </a:lnTo>
                      <a:cubicBezTo>
                        <a:pt x="0" y="3048"/>
                        <a:pt x="3048" y="0"/>
                        <a:pt x="7620" y="0"/>
                      </a:cubicBezTo>
                      <a:lnTo>
                        <a:pt x="62484" y="0"/>
                      </a:lnTo>
                      <a:cubicBezTo>
                        <a:pt x="67056" y="0"/>
                        <a:pt x="70104" y="3048"/>
                        <a:pt x="70104" y="7620"/>
                      </a:cubicBezTo>
                      <a:lnTo>
                        <a:pt x="70104" y="152400"/>
                      </a:lnTo>
                      <a:cubicBezTo>
                        <a:pt x="70104" y="156972"/>
                        <a:pt x="66294" y="160020"/>
                        <a:pt x="62484" y="160020"/>
                      </a:cubicBezTo>
                      <a:close/>
                      <a:moveTo>
                        <a:pt x="15240" y="144780"/>
                      </a:moveTo>
                      <a:lnTo>
                        <a:pt x="54864" y="144780"/>
                      </a:lnTo>
                      <a:lnTo>
                        <a:pt x="54864" y="15240"/>
                      </a:lnTo>
                      <a:lnTo>
                        <a:pt x="15240" y="15240"/>
                      </a:lnTo>
                      <a:lnTo>
                        <a:pt x="15240" y="1447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76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dirty="0"/>
                </a:p>
              </p:txBody>
            </p:sp>
            <p:sp>
              <p:nvSpPr>
                <p:cNvPr id="39" name="Freeform 1334">
                  <a:extLst>
                    <a:ext uri="{FF2B5EF4-FFF2-40B4-BE49-F238E27FC236}">
                      <a16:creationId xmlns:a16="http://schemas.microsoft.com/office/drawing/2014/main" id="{1BC823F4-82B4-EF4C-818B-153AF9EB0774}"/>
                    </a:ext>
                  </a:extLst>
                </p:cNvPr>
                <p:cNvSpPr/>
                <p:nvPr/>
              </p:nvSpPr>
              <p:spPr>
                <a:xfrm>
                  <a:off x="2628900" y="1395983"/>
                  <a:ext cx="70103" cy="160020"/>
                </a:xfrm>
                <a:custGeom>
                  <a:avLst/>
                  <a:gdLst>
                    <a:gd name="connsiteX0" fmla="*/ 61722 w 70103"/>
                    <a:gd name="connsiteY0" fmla="*/ 160020 h 160020"/>
                    <a:gd name="connsiteX1" fmla="*/ 7620 w 70103"/>
                    <a:gd name="connsiteY1" fmla="*/ 160020 h 160020"/>
                    <a:gd name="connsiteX2" fmla="*/ 0 w 70103"/>
                    <a:gd name="connsiteY2" fmla="*/ 152400 h 160020"/>
                    <a:gd name="connsiteX3" fmla="*/ 0 w 70103"/>
                    <a:gd name="connsiteY3" fmla="*/ 7620 h 160020"/>
                    <a:gd name="connsiteX4" fmla="*/ 7620 w 70103"/>
                    <a:gd name="connsiteY4" fmla="*/ 0 h 160020"/>
                    <a:gd name="connsiteX5" fmla="*/ 62484 w 70103"/>
                    <a:gd name="connsiteY5" fmla="*/ 0 h 160020"/>
                    <a:gd name="connsiteX6" fmla="*/ 70104 w 70103"/>
                    <a:gd name="connsiteY6" fmla="*/ 7620 h 160020"/>
                    <a:gd name="connsiteX7" fmla="*/ 70104 w 70103"/>
                    <a:gd name="connsiteY7" fmla="*/ 152400 h 160020"/>
                    <a:gd name="connsiteX8" fmla="*/ 61722 w 70103"/>
                    <a:gd name="connsiteY8" fmla="*/ 160020 h 160020"/>
                    <a:gd name="connsiteX9" fmla="*/ 15240 w 70103"/>
                    <a:gd name="connsiteY9" fmla="*/ 144780 h 160020"/>
                    <a:gd name="connsiteX10" fmla="*/ 54864 w 70103"/>
                    <a:gd name="connsiteY10" fmla="*/ 144780 h 160020"/>
                    <a:gd name="connsiteX11" fmla="*/ 54864 w 70103"/>
                    <a:gd name="connsiteY11" fmla="*/ 15240 h 160020"/>
                    <a:gd name="connsiteX12" fmla="*/ 15240 w 70103"/>
                    <a:gd name="connsiteY12" fmla="*/ 15240 h 160020"/>
                    <a:gd name="connsiteX13" fmla="*/ 15240 w 70103"/>
                    <a:gd name="connsiteY13" fmla="*/ 144780 h 160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70103" h="160020">
                      <a:moveTo>
                        <a:pt x="61722" y="160020"/>
                      </a:moveTo>
                      <a:lnTo>
                        <a:pt x="7620" y="160020"/>
                      </a:lnTo>
                      <a:cubicBezTo>
                        <a:pt x="3048" y="160020"/>
                        <a:pt x="0" y="156972"/>
                        <a:pt x="0" y="152400"/>
                      </a:cubicBezTo>
                      <a:lnTo>
                        <a:pt x="0" y="7620"/>
                      </a:lnTo>
                      <a:cubicBezTo>
                        <a:pt x="0" y="3048"/>
                        <a:pt x="3048" y="0"/>
                        <a:pt x="7620" y="0"/>
                      </a:cubicBezTo>
                      <a:lnTo>
                        <a:pt x="62484" y="0"/>
                      </a:lnTo>
                      <a:cubicBezTo>
                        <a:pt x="67056" y="0"/>
                        <a:pt x="70104" y="3048"/>
                        <a:pt x="70104" y="7620"/>
                      </a:cubicBezTo>
                      <a:lnTo>
                        <a:pt x="70104" y="152400"/>
                      </a:lnTo>
                      <a:cubicBezTo>
                        <a:pt x="69342" y="156972"/>
                        <a:pt x="66294" y="160020"/>
                        <a:pt x="61722" y="160020"/>
                      </a:cubicBezTo>
                      <a:close/>
                      <a:moveTo>
                        <a:pt x="15240" y="144780"/>
                      </a:moveTo>
                      <a:lnTo>
                        <a:pt x="54864" y="144780"/>
                      </a:lnTo>
                      <a:lnTo>
                        <a:pt x="54864" y="15240"/>
                      </a:lnTo>
                      <a:lnTo>
                        <a:pt x="15240" y="15240"/>
                      </a:lnTo>
                      <a:lnTo>
                        <a:pt x="15240" y="14478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762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dirty="0"/>
                </a:p>
              </p:txBody>
            </p:sp>
          </p:grpSp>
          <p:sp>
            <p:nvSpPr>
              <p:cNvPr id="35" name="Freeform 1335">
                <a:extLst>
                  <a:ext uri="{FF2B5EF4-FFF2-40B4-BE49-F238E27FC236}">
                    <a16:creationId xmlns:a16="http://schemas.microsoft.com/office/drawing/2014/main" id="{250E0EC5-FC9E-7441-AA93-D7A8C8F92E3C}"/>
                  </a:ext>
                </a:extLst>
              </p:cNvPr>
              <p:cNvSpPr/>
              <p:nvPr/>
            </p:nvSpPr>
            <p:spPr>
              <a:xfrm>
                <a:off x="2372106" y="1568957"/>
                <a:ext cx="361187" cy="76200"/>
              </a:xfrm>
              <a:custGeom>
                <a:avLst/>
                <a:gdLst>
                  <a:gd name="connsiteX0" fmla="*/ 353568 w 361187"/>
                  <a:gd name="connsiteY0" fmla="*/ 76200 h 76200"/>
                  <a:gd name="connsiteX1" fmla="*/ 7620 w 361187"/>
                  <a:gd name="connsiteY1" fmla="*/ 76200 h 76200"/>
                  <a:gd name="connsiteX2" fmla="*/ 0 w 361187"/>
                  <a:gd name="connsiteY2" fmla="*/ 68580 h 76200"/>
                  <a:gd name="connsiteX3" fmla="*/ 0 w 361187"/>
                  <a:gd name="connsiteY3" fmla="*/ 7620 h 76200"/>
                  <a:gd name="connsiteX4" fmla="*/ 7620 w 361187"/>
                  <a:gd name="connsiteY4" fmla="*/ 0 h 76200"/>
                  <a:gd name="connsiteX5" fmla="*/ 353568 w 361187"/>
                  <a:gd name="connsiteY5" fmla="*/ 0 h 76200"/>
                  <a:gd name="connsiteX6" fmla="*/ 361188 w 361187"/>
                  <a:gd name="connsiteY6" fmla="*/ 7620 h 76200"/>
                  <a:gd name="connsiteX7" fmla="*/ 361188 w 361187"/>
                  <a:gd name="connsiteY7" fmla="*/ 68580 h 76200"/>
                  <a:gd name="connsiteX8" fmla="*/ 353568 w 361187"/>
                  <a:gd name="connsiteY8" fmla="*/ 76200 h 76200"/>
                  <a:gd name="connsiteX9" fmla="*/ 15240 w 361187"/>
                  <a:gd name="connsiteY9" fmla="*/ 60960 h 76200"/>
                  <a:gd name="connsiteX10" fmla="*/ 345948 w 361187"/>
                  <a:gd name="connsiteY10" fmla="*/ 60960 h 76200"/>
                  <a:gd name="connsiteX11" fmla="*/ 345948 w 361187"/>
                  <a:gd name="connsiteY11" fmla="*/ 15240 h 76200"/>
                  <a:gd name="connsiteX12" fmla="*/ 15240 w 361187"/>
                  <a:gd name="connsiteY12" fmla="*/ 15240 h 76200"/>
                  <a:gd name="connsiteX13" fmla="*/ 15240 w 361187"/>
                  <a:gd name="connsiteY13" fmla="*/ 6096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1187" h="76200">
                    <a:moveTo>
                      <a:pt x="353568" y="76200"/>
                    </a:moveTo>
                    <a:lnTo>
                      <a:pt x="7620" y="76200"/>
                    </a:lnTo>
                    <a:cubicBezTo>
                      <a:pt x="3048" y="76200"/>
                      <a:pt x="0" y="73152"/>
                      <a:pt x="0" y="68580"/>
                    </a:cubicBezTo>
                    <a:lnTo>
                      <a:pt x="0" y="7620"/>
                    </a:lnTo>
                    <a:cubicBezTo>
                      <a:pt x="0" y="3048"/>
                      <a:pt x="3048" y="0"/>
                      <a:pt x="7620" y="0"/>
                    </a:cubicBezTo>
                    <a:lnTo>
                      <a:pt x="353568" y="0"/>
                    </a:lnTo>
                    <a:cubicBezTo>
                      <a:pt x="358140" y="0"/>
                      <a:pt x="361188" y="3048"/>
                      <a:pt x="361188" y="7620"/>
                    </a:cubicBezTo>
                    <a:lnTo>
                      <a:pt x="361188" y="68580"/>
                    </a:lnTo>
                    <a:cubicBezTo>
                      <a:pt x="361188" y="73152"/>
                      <a:pt x="358140" y="76200"/>
                      <a:pt x="353568" y="76200"/>
                    </a:cubicBezTo>
                    <a:close/>
                    <a:moveTo>
                      <a:pt x="15240" y="60960"/>
                    </a:moveTo>
                    <a:lnTo>
                      <a:pt x="345948" y="60960"/>
                    </a:lnTo>
                    <a:lnTo>
                      <a:pt x="345948" y="15240"/>
                    </a:lnTo>
                    <a:lnTo>
                      <a:pt x="15240" y="15240"/>
                    </a:lnTo>
                    <a:lnTo>
                      <a:pt x="15240" y="60960"/>
                    </a:lnTo>
                    <a:close/>
                  </a:path>
                </a:pathLst>
              </a:custGeom>
              <a:solidFill>
                <a:srgbClr val="000000"/>
              </a:solidFill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36" name="Freeform 1336">
                <a:extLst>
                  <a:ext uri="{FF2B5EF4-FFF2-40B4-BE49-F238E27FC236}">
                    <a16:creationId xmlns:a16="http://schemas.microsoft.com/office/drawing/2014/main" id="{1AC021AC-AD5C-7A41-A41E-84F26029CCA8}"/>
                  </a:ext>
                </a:extLst>
              </p:cNvPr>
              <p:cNvSpPr/>
              <p:nvPr/>
            </p:nvSpPr>
            <p:spPr>
              <a:xfrm>
                <a:off x="2365815" y="1271968"/>
                <a:ext cx="373006" cy="104203"/>
              </a:xfrm>
              <a:custGeom>
                <a:avLst/>
                <a:gdLst>
                  <a:gd name="connsiteX0" fmla="*/ 365954 w 373006"/>
                  <a:gd name="connsiteY0" fmla="*/ 104204 h 104203"/>
                  <a:gd name="connsiteX1" fmla="*/ 7814 w 373006"/>
                  <a:gd name="connsiteY1" fmla="*/ 104204 h 104203"/>
                  <a:gd name="connsiteX2" fmla="*/ 194 w 373006"/>
                  <a:gd name="connsiteY2" fmla="*/ 98108 h 104203"/>
                  <a:gd name="connsiteX3" fmla="*/ 4004 w 373006"/>
                  <a:gd name="connsiteY3" fmla="*/ 89726 h 104203"/>
                  <a:gd name="connsiteX4" fmla="*/ 183074 w 373006"/>
                  <a:gd name="connsiteY4" fmla="*/ 572 h 104203"/>
                  <a:gd name="connsiteX5" fmla="*/ 189932 w 373006"/>
                  <a:gd name="connsiteY5" fmla="*/ 572 h 104203"/>
                  <a:gd name="connsiteX6" fmla="*/ 369002 w 373006"/>
                  <a:gd name="connsiteY6" fmla="*/ 89726 h 104203"/>
                  <a:gd name="connsiteX7" fmla="*/ 372812 w 373006"/>
                  <a:gd name="connsiteY7" fmla="*/ 98108 h 104203"/>
                  <a:gd name="connsiteX8" fmla="*/ 365954 w 373006"/>
                  <a:gd name="connsiteY8" fmla="*/ 104204 h 104203"/>
                  <a:gd name="connsiteX9" fmla="*/ 39818 w 373006"/>
                  <a:gd name="connsiteY9" fmla="*/ 88964 h 104203"/>
                  <a:gd name="connsiteX10" fmla="*/ 333188 w 373006"/>
                  <a:gd name="connsiteY10" fmla="*/ 88964 h 104203"/>
                  <a:gd name="connsiteX11" fmla="*/ 186884 w 373006"/>
                  <a:gd name="connsiteY11" fmla="*/ 15812 h 104203"/>
                  <a:gd name="connsiteX12" fmla="*/ 39818 w 373006"/>
                  <a:gd name="connsiteY12" fmla="*/ 88964 h 104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3006" h="104203">
                    <a:moveTo>
                      <a:pt x="365954" y="104204"/>
                    </a:moveTo>
                    <a:lnTo>
                      <a:pt x="7814" y="104204"/>
                    </a:lnTo>
                    <a:cubicBezTo>
                      <a:pt x="4004" y="104204"/>
                      <a:pt x="956" y="101918"/>
                      <a:pt x="194" y="98108"/>
                    </a:cubicBezTo>
                    <a:cubicBezTo>
                      <a:pt x="-568" y="94298"/>
                      <a:pt x="956" y="91249"/>
                      <a:pt x="4004" y="89726"/>
                    </a:cubicBezTo>
                    <a:lnTo>
                      <a:pt x="183074" y="572"/>
                    </a:lnTo>
                    <a:cubicBezTo>
                      <a:pt x="185360" y="-191"/>
                      <a:pt x="187646" y="-191"/>
                      <a:pt x="189932" y="572"/>
                    </a:cubicBezTo>
                    <a:lnTo>
                      <a:pt x="369002" y="89726"/>
                    </a:lnTo>
                    <a:cubicBezTo>
                      <a:pt x="372050" y="91249"/>
                      <a:pt x="373574" y="95059"/>
                      <a:pt x="372812" y="98108"/>
                    </a:cubicBezTo>
                    <a:cubicBezTo>
                      <a:pt x="372812" y="101918"/>
                      <a:pt x="369764" y="104204"/>
                      <a:pt x="365954" y="104204"/>
                    </a:cubicBezTo>
                    <a:close/>
                    <a:moveTo>
                      <a:pt x="39818" y="88964"/>
                    </a:moveTo>
                    <a:lnTo>
                      <a:pt x="333188" y="88964"/>
                    </a:lnTo>
                    <a:lnTo>
                      <a:pt x="186884" y="15812"/>
                    </a:lnTo>
                    <a:lnTo>
                      <a:pt x="39818" y="88964"/>
                    </a:lnTo>
                    <a:close/>
                  </a:path>
                </a:pathLst>
              </a:custGeom>
              <a:solidFill>
                <a:srgbClr val="000000"/>
              </a:solidFill>
              <a:ln w="7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866C004-2ABB-C84F-9FE6-87F32E02A080}"/>
                </a:ext>
              </a:extLst>
            </p:cNvPr>
            <p:cNvSpPr txBox="1"/>
            <p:nvPr/>
          </p:nvSpPr>
          <p:spPr>
            <a:xfrm>
              <a:off x="1010886" y="2003747"/>
              <a:ext cx="134535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>
                  <a:latin typeface="+mj-lt"/>
                </a:rPr>
                <a:t>FX BYN/RUB/CNY</a:t>
              </a:r>
              <a:endParaRPr lang="ru-RU" sz="1000" dirty="0">
                <a:latin typeface="+mj-l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866C004-2ABB-C84F-9FE6-87F32E02A080}"/>
                </a:ext>
              </a:extLst>
            </p:cNvPr>
            <p:cNvSpPr txBox="1"/>
            <p:nvPr/>
          </p:nvSpPr>
          <p:spPr>
            <a:xfrm>
              <a:off x="1247258" y="3017723"/>
              <a:ext cx="9059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latin typeface="+mj-lt"/>
                </a:rPr>
                <a:t>Резидент РБ</a:t>
              </a:r>
            </a:p>
            <a:p>
              <a:pPr algn="ctr"/>
              <a:endParaRPr lang="ru-RU" sz="1000" dirty="0">
                <a:latin typeface="+mj-lt"/>
              </a:endParaRP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FE26E39E-204C-4764-B455-D1985A6C0089}"/>
                </a:ext>
              </a:extLst>
            </p:cNvPr>
            <p:cNvSpPr/>
            <p:nvPr/>
          </p:nvSpPr>
          <p:spPr>
            <a:xfrm>
              <a:off x="1459819" y="2518375"/>
              <a:ext cx="707648" cy="414360"/>
            </a:xfrm>
            <a:prstGeom prst="rect">
              <a:avLst/>
            </a:prstGeom>
          </p:spPr>
          <p:txBody>
            <a:bodyPr wrap="square" lIns="0" tIns="0" rIns="0" bIns="0" anchor="ctr" anchorCtr="0">
              <a:noAutofit/>
            </a:bodyPr>
            <a:lstStyle/>
            <a:p>
              <a:pPr defTabSz="422041">
                <a:lnSpc>
                  <a:spcPct val="90000"/>
                </a:lnSpc>
              </a:pPr>
              <a:r>
                <a:rPr lang="ru-RU" sz="1050" b="1" dirty="0" smtClean="0">
                  <a:solidFill>
                    <a:schemeClr val="accent1"/>
                  </a:solidFill>
                  <a:latin typeface="VTB Group Book" panose="020B0503040504020204" pitchFamily="34" charset="-52"/>
                </a:rPr>
                <a:t>Беларусь</a:t>
              </a:r>
              <a:endParaRPr lang="ru-RU" sz="1050" b="1" dirty="0">
                <a:solidFill>
                  <a:schemeClr val="accent1"/>
                </a:solidFill>
                <a:latin typeface="VTB Group Book" panose="020B0503040504020204" pitchFamily="34" charset="-52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866C004-2ABB-C84F-9FE6-87F32E02A080}"/>
                </a:ext>
              </a:extLst>
            </p:cNvPr>
            <p:cNvSpPr txBox="1"/>
            <p:nvPr/>
          </p:nvSpPr>
          <p:spPr>
            <a:xfrm>
              <a:off x="2463076" y="2273420"/>
              <a:ext cx="134535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>
                  <a:latin typeface="+mj-lt"/>
                </a:rPr>
                <a:t>CNY</a:t>
              </a:r>
              <a:endParaRPr lang="ru-RU" sz="1000" dirty="0">
                <a:latin typeface="+mj-lt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866C004-2ABB-C84F-9FE6-87F32E02A080}"/>
                </a:ext>
              </a:extLst>
            </p:cNvPr>
            <p:cNvSpPr txBox="1"/>
            <p:nvPr/>
          </p:nvSpPr>
          <p:spPr>
            <a:xfrm>
              <a:off x="2740140" y="2885480"/>
              <a:ext cx="9059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>
                  <a:latin typeface="+mj-lt"/>
                </a:rPr>
                <a:t>т</a:t>
              </a:r>
              <a:r>
                <a:rPr lang="ru-RU" sz="1000" dirty="0" smtClean="0">
                  <a:latin typeface="+mj-lt"/>
                </a:rPr>
                <a:t>овары/услуги</a:t>
              </a:r>
            </a:p>
            <a:p>
              <a:pPr algn="ctr"/>
              <a:endParaRPr lang="ru-RU" sz="1000" dirty="0">
                <a:latin typeface="+mj-lt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866C004-2ABB-C84F-9FE6-87F32E02A080}"/>
                </a:ext>
              </a:extLst>
            </p:cNvPr>
            <p:cNvSpPr txBox="1"/>
            <p:nvPr/>
          </p:nvSpPr>
          <p:spPr>
            <a:xfrm>
              <a:off x="4193595" y="2785183"/>
              <a:ext cx="905957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000" dirty="0" smtClean="0">
                  <a:latin typeface="+mj-lt"/>
                </a:rPr>
                <a:t>Резидент КНР</a:t>
              </a:r>
            </a:p>
            <a:p>
              <a:pPr algn="ctr"/>
              <a:r>
                <a:rPr lang="ru-RU" sz="1000" dirty="0" smtClean="0">
                  <a:latin typeface="+mj-lt"/>
                </a:rPr>
                <a:t>Счет </a:t>
              </a:r>
              <a:r>
                <a:rPr lang="en-US" sz="1000" dirty="0" smtClean="0">
                  <a:latin typeface="+mj-lt"/>
                </a:rPr>
                <a:t>CNY</a:t>
              </a:r>
              <a:endParaRPr lang="ru-RU" sz="1000" dirty="0" smtClean="0">
                <a:latin typeface="+mj-lt"/>
              </a:endParaRPr>
            </a:p>
            <a:p>
              <a:pPr algn="ctr"/>
              <a:endParaRPr lang="ru-RU" sz="1000" dirty="0">
                <a:latin typeface="+mj-lt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866C004-2ABB-C84F-9FE6-87F32E02A080}"/>
                </a:ext>
              </a:extLst>
            </p:cNvPr>
            <p:cNvSpPr txBox="1"/>
            <p:nvPr/>
          </p:nvSpPr>
          <p:spPr>
            <a:xfrm>
              <a:off x="3903062" y="3399231"/>
              <a:ext cx="9059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>
                  <a:latin typeface="+mj-lt"/>
                </a:rPr>
                <a:t>CNY</a:t>
              </a:r>
              <a:endParaRPr lang="ru-RU" sz="1000" dirty="0" smtClean="0">
                <a:latin typeface="+mj-lt"/>
              </a:endParaRPr>
            </a:p>
            <a:p>
              <a:pPr algn="ctr"/>
              <a:endParaRPr lang="ru-RU" sz="1000" dirty="0">
                <a:latin typeface="+mj-lt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866C004-2ABB-C84F-9FE6-87F32E02A080}"/>
                </a:ext>
              </a:extLst>
            </p:cNvPr>
            <p:cNvSpPr txBox="1"/>
            <p:nvPr/>
          </p:nvSpPr>
          <p:spPr>
            <a:xfrm>
              <a:off x="4549711" y="3395454"/>
              <a:ext cx="90595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dirty="0" smtClean="0">
                  <a:latin typeface="+mj-lt"/>
                </a:rPr>
                <a:t>CNAPS</a:t>
              </a:r>
              <a:endParaRPr lang="ru-RU" sz="1000" dirty="0" smtClean="0">
                <a:latin typeface="+mj-lt"/>
              </a:endParaRPr>
            </a:p>
            <a:p>
              <a:pPr algn="ctr"/>
              <a:endParaRPr lang="ru-RU" sz="1000" dirty="0">
                <a:latin typeface="+mj-lt"/>
              </a:endParaRPr>
            </a:p>
          </p:txBody>
        </p:sp>
        <p:pic>
          <p:nvPicPr>
            <p:cNvPr id="33" name="Рисунок 289"/>
            <p:cNvPicPr/>
            <p:nvPr/>
          </p:nvPicPr>
          <p:blipFill>
            <a:blip r:embed="rId10"/>
            <a:stretch/>
          </p:blipFill>
          <p:spPr>
            <a:xfrm>
              <a:off x="4706809" y="3944228"/>
              <a:ext cx="173998" cy="173479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40" name="Прямоугольник 39"/>
          <p:cNvSpPr/>
          <p:nvPr/>
        </p:nvSpPr>
        <p:spPr>
          <a:xfrm>
            <a:off x="6099861" y="1060129"/>
            <a:ext cx="5467351" cy="387070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>
            <a:outerShdw blurRad="114300" dist="63500" dir="2700000" algn="ctr" rotWithShape="0">
              <a:srgbClr val="000000">
                <a:alpha val="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6137483" y="1075752"/>
            <a:ext cx="5167826" cy="26007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60" indent="-170640" algn="just">
              <a:lnSpc>
                <a:spcPct val="100000"/>
              </a:lnSpc>
              <a:spcAft>
                <a:spcPts val="1199"/>
              </a:spcAft>
              <a:buClr>
                <a:srgbClr val="1037E0"/>
              </a:buClr>
              <a:buFont typeface="Arial"/>
              <a:buChar char="•"/>
            </a:pPr>
            <a:r>
              <a:rPr lang="ru-RU" sz="1100" b="1" spc="-1" dirty="0" smtClean="0">
                <a:solidFill>
                  <a:schemeClr val="accent1"/>
                </a:solidFill>
                <a:ea typeface="VTB Group Light"/>
              </a:rPr>
              <a:t>ВТБ</a:t>
            </a:r>
            <a:r>
              <a:rPr lang="en-US" sz="1100" b="1" spc="-1" dirty="0" smtClean="0">
                <a:solidFill>
                  <a:schemeClr val="accent1"/>
                </a:solidFill>
                <a:ea typeface="VTB Group Light"/>
              </a:rPr>
              <a:t> </a:t>
            </a:r>
            <a:r>
              <a:rPr lang="ru-RU" sz="1100" b="1" spc="-1" dirty="0" smtClean="0">
                <a:solidFill>
                  <a:schemeClr val="accent1"/>
                </a:solidFill>
                <a:ea typeface="VTB Group Light"/>
              </a:rPr>
              <a:t>Беларусь </a:t>
            </a:r>
            <a:r>
              <a:rPr lang="ru-RU" sz="1100" spc="-1" dirty="0" smtClean="0">
                <a:ea typeface="VTB Group Light"/>
              </a:rPr>
              <a:t>работает на рынке Китая в корреспонденции с участником Группы ВТБ, </a:t>
            </a:r>
            <a:r>
              <a:rPr lang="ru-RU" sz="1100" spc="-1" dirty="0">
                <a:ea typeface="VTB Group Light"/>
              </a:rPr>
              <a:t>филиалом </a:t>
            </a:r>
            <a:r>
              <a:rPr lang="ru-RU" sz="1100" spc="-1" dirty="0" smtClean="0">
                <a:ea typeface="VTB Group Light"/>
              </a:rPr>
              <a:t>Банка </a:t>
            </a:r>
            <a:r>
              <a:rPr lang="ru-RU" sz="1100" spc="-1" dirty="0">
                <a:ea typeface="VTB Group Light"/>
              </a:rPr>
              <a:t>ВТБ </a:t>
            </a:r>
            <a:r>
              <a:rPr lang="ru-RU" sz="1100" spc="-1" dirty="0" smtClean="0">
                <a:ea typeface="VTB Group Light"/>
              </a:rPr>
              <a:t>ПАО </a:t>
            </a:r>
            <a:r>
              <a:rPr lang="ru-RU" sz="1100" spc="-1" dirty="0">
                <a:ea typeface="VTB Group Light"/>
              </a:rPr>
              <a:t>в г. </a:t>
            </a:r>
            <a:r>
              <a:rPr lang="ru-RU" sz="1100" spc="-1" dirty="0" smtClean="0">
                <a:ea typeface="VTB Group Light"/>
              </a:rPr>
              <a:t>Шанхай, обладающего </a:t>
            </a:r>
            <a:r>
              <a:rPr lang="ru-RU" sz="1100" spc="-1" dirty="0">
                <a:ea typeface="VTB Group Light"/>
              </a:rPr>
              <a:t>полноценной лицензией на осуществление банковской </a:t>
            </a:r>
            <a:r>
              <a:rPr lang="ru-RU" sz="1100" spc="-1" dirty="0" smtClean="0">
                <a:ea typeface="VTB Group Light"/>
              </a:rPr>
              <a:t>деятельности.</a:t>
            </a:r>
            <a:endParaRPr lang="ru-RU" sz="1100" spc="-1" dirty="0">
              <a:ea typeface="VTB Group Light"/>
            </a:endParaRPr>
          </a:p>
          <a:p>
            <a:pPr marL="171360" indent="-170640" algn="just">
              <a:spcAft>
                <a:spcPts val="1199"/>
              </a:spcAft>
              <a:buClr>
                <a:srgbClr val="1037E0"/>
              </a:buClr>
              <a:buFont typeface="Arial"/>
              <a:buChar char="•"/>
            </a:pPr>
            <a:r>
              <a:rPr lang="en-US" sz="1100" b="1" spc="-1" dirty="0">
                <a:solidFill>
                  <a:schemeClr val="accent1"/>
                </a:solidFill>
              </a:rPr>
              <a:t>VTB Bank (PJSC) Shanghai </a:t>
            </a:r>
            <a:r>
              <a:rPr lang="en-US" sz="1100" b="1" spc="-1" dirty="0" smtClean="0">
                <a:solidFill>
                  <a:schemeClr val="accent1"/>
                </a:solidFill>
              </a:rPr>
              <a:t>Branch</a:t>
            </a:r>
            <a:r>
              <a:rPr lang="ru-RU" sz="1100" b="1" spc="-1" dirty="0" smtClean="0"/>
              <a:t> </a:t>
            </a:r>
            <a:r>
              <a:rPr lang="en-US" sz="1100" spc="-1" dirty="0" smtClean="0"/>
              <a:t>- </a:t>
            </a:r>
            <a:r>
              <a:rPr lang="ru-RU" sz="1100" b="1" spc="-1" dirty="0"/>
              <a:t>прямой участник </a:t>
            </a:r>
            <a:r>
              <a:rPr lang="ru-RU" sz="1100" spc="-1" dirty="0"/>
              <a:t>национальной платежной системы Китая </a:t>
            </a:r>
            <a:r>
              <a:rPr lang="en-US" sz="1100" spc="-1" dirty="0" smtClean="0"/>
              <a:t>CNAPS INT</a:t>
            </a:r>
            <a:r>
              <a:rPr lang="ru-RU" sz="1100" spc="-1" dirty="0" smtClean="0"/>
              <a:t>  </a:t>
            </a:r>
            <a:r>
              <a:rPr lang="ru-RU" sz="1100" spc="-1" dirty="0"/>
              <a:t>(</a:t>
            </a:r>
            <a:r>
              <a:rPr lang="en-US" sz="1100" spc="-1" dirty="0"/>
              <a:t>China National Advanced Payment System</a:t>
            </a:r>
            <a:r>
              <a:rPr lang="en-US" sz="1100" spc="-1" dirty="0" smtClean="0"/>
              <a:t>)</a:t>
            </a:r>
            <a:r>
              <a:rPr lang="ru-RU" sz="1100" spc="-1" dirty="0"/>
              <a:t>. </a:t>
            </a:r>
            <a:r>
              <a:rPr lang="ru-RU" sz="1100" spc="-1" dirty="0" smtClean="0"/>
              <a:t>Через </a:t>
            </a:r>
            <a:r>
              <a:rPr lang="en-US" sz="1100" spc="-1" dirty="0" smtClean="0"/>
              <a:t>CNAPS INT</a:t>
            </a:r>
            <a:r>
              <a:rPr lang="ru-RU" sz="1100" spc="-1" dirty="0" smtClean="0"/>
              <a:t> проходит большинство расчетов в </a:t>
            </a:r>
            <a:r>
              <a:rPr lang="ru-RU" sz="1100" spc="-1" dirty="0"/>
              <a:t>юанях между резидентами </a:t>
            </a:r>
            <a:r>
              <a:rPr lang="ru-RU" sz="1100" spc="-1" dirty="0" smtClean="0"/>
              <a:t>материкового КНР. </a:t>
            </a:r>
            <a:r>
              <a:rPr lang="ru-RU" sz="1100" spc="-1" dirty="0"/>
              <a:t>При оформлении платежа необходимо указывать </a:t>
            </a:r>
            <a:r>
              <a:rPr lang="en-US" sz="1100" spc="-1" dirty="0"/>
              <a:t>CNAPS</a:t>
            </a:r>
            <a:r>
              <a:rPr lang="ru-RU" sz="1100" spc="-1" dirty="0"/>
              <a:t>код банка получателя.</a:t>
            </a:r>
            <a:r>
              <a:rPr lang="ru-RU" sz="1100" spc="-1" dirty="0" smtClean="0"/>
              <a:t>  </a:t>
            </a:r>
          </a:p>
          <a:p>
            <a:pPr marL="171360" indent="-170640" algn="just">
              <a:spcAft>
                <a:spcPts val="1199"/>
              </a:spcAft>
              <a:buClr>
                <a:srgbClr val="1037E0"/>
              </a:buClr>
              <a:buFont typeface="Arial"/>
              <a:buChar char="•"/>
            </a:pPr>
            <a:r>
              <a:rPr lang="ru-RU" altLang="ru-RU" sz="1100" spc="-1" dirty="0" smtClean="0">
                <a:ea typeface="VTB Group Light"/>
              </a:rPr>
              <a:t>Для гарантированного прохождения </a:t>
            </a:r>
            <a:r>
              <a:rPr lang="ru-RU" altLang="ru-RU" sz="1100" spc="-1" dirty="0">
                <a:ea typeface="VTB Group Light"/>
              </a:rPr>
              <a:t>платежей </a:t>
            </a:r>
            <a:r>
              <a:rPr lang="ru-RU" altLang="ru-RU" sz="1100" spc="-1" dirty="0" smtClean="0">
                <a:ea typeface="VTB Group Light"/>
              </a:rPr>
              <a:t>компании </a:t>
            </a:r>
            <a:r>
              <a:rPr lang="ru-RU" altLang="ru-RU" sz="1100" spc="-1" dirty="0">
                <a:ea typeface="VTB Group Light"/>
              </a:rPr>
              <a:t>резиденту </a:t>
            </a:r>
            <a:r>
              <a:rPr lang="ru-RU" altLang="ru-RU" sz="1100" spc="-1" dirty="0" smtClean="0">
                <a:ea typeface="VTB Group Light"/>
              </a:rPr>
              <a:t>КНР (китайскому </a:t>
            </a:r>
            <a:r>
              <a:rPr lang="ru-RU" altLang="ru-RU" sz="1100" spc="-1" dirty="0">
                <a:ea typeface="VTB Group Light"/>
              </a:rPr>
              <a:t>импортеру </a:t>
            </a:r>
            <a:r>
              <a:rPr lang="ru-RU" altLang="ru-RU" sz="1100" spc="-1" dirty="0" smtClean="0">
                <a:ea typeface="VTB Group Light"/>
              </a:rPr>
              <a:t>или экспортёру) необходимо </a:t>
            </a:r>
            <a:r>
              <a:rPr lang="ru-RU" altLang="ru-RU" sz="1100" spc="-1" dirty="0">
                <a:ea typeface="VTB Group Light"/>
              </a:rPr>
              <a:t>открыть счет в </a:t>
            </a:r>
            <a:r>
              <a:rPr lang="en-US" sz="1100" b="1" spc="-1" dirty="0">
                <a:solidFill>
                  <a:schemeClr val="accent1"/>
                </a:solidFill>
              </a:rPr>
              <a:t>VTB Bank (PJSC) Shanghai Branch</a:t>
            </a:r>
            <a:r>
              <a:rPr lang="en-US" altLang="ru-RU" sz="1100" spc="-1" dirty="0" smtClean="0">
                <a:ea typeface="VTB Group Light"/>
              </a:rPr>
              <a:t>.</a:t>
            </a:r>
            <a:r>
              <a:rPr lang="ru-RU" altLang="ru-RU" sz="1100" spc="-1" dirty="0" smtClean="0">
                <a:ea typeface="VTB Group Light"/>
              </a:rPr>
              <a:t> Дальнейшие расчеты между резидентами материкового Китая проводятся без ограничений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866C004-2ABB-C84F-9FE6-87F32E02A080}"/>
              </a:ext>
            </a:extLst>
          </p:cNvPr>
          <p:cNvSpPr txBox="1"/>
          <p:nvPr/>
        </p:nvSpPr>
        <p:spPr>
          <a:xfrm>
            <a:off x="4209134" y="4383792"/>
            <a:ext cx="90595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latin typeface="+mj-lt"/>
              </a:rPr>
              <a:t>Резидент КНР</a:t>
            </a:r>
          </a:p>
          <a:p>
            <a:pPr algn="ctr"/>
            <a:r>
              <a:rPr lang="ru-RU" sz="1000" dirty="0" smtClean="0">
                <a:latin typeface="+mj-lt"/>
              </a:rPr>
              <a:t>Счет </a:t>
            </a:r>
            <a:r>
              <a:rPr lang="en-US" sz="1000" dirty="0" smtClean="0">
                <a:latin typeface="+mj-lt"/>
              </a:rPr>
              <a:t>CNY</a:t>
            </a:r>
            <a:r>
              <a:rPr lang="ru-RU" sz="1000" dirty="0" smtClean="0">
                <a:latin typeface="+mj-lt"/>
              </a:rPr>
              <a:t> в</a:t>
            </a:r>
          </a:p>
          <a:p>
            <a:pPr algn="ctr"/>
            <a:r>
              <a:rPr lang="ru-RU" sz="1000" dirty="0" smtClean="0">
                <a:latin typeface="+mj-lt"/>
              </a:rPr>
              <a:t>Банке КНР</a:t>
            </a:r>
          </a:p>
          <a:p>
            <a:pPr algn="ctr"/>
            <a:endParaRPr lang="ru-RU" sz="1000" dirty="0">
              <a:latin typeface="+mj-lt"/>
            </a:endParaRPr>
          </a:p>
        </p:txBody>
      </p:sp>
      <p:pic>
        <p:nvPicPr>
          <p:cNvPr id="43" name="Изображение 8"/>
          <p:cNvPicPr/>
          <p:nvPr/>
        </p:nvPicPr>
        <p:blipFill>
          <a:blip r:embed="rId11"/>
          <a:stretch/>
        </p:blipFill>
        <p:spPr>
          <a:xfrm>
            <a:off x="3810283" y="2115458"/>
            <a:ext cx="1364281" cy="781630"/>
          </a:xfrm>
          <a:prstGeom prst="rect">
            <a:avLst/>
          </a:prstGeom>
          <a:ln w="0">
            <a:noFill/>
          </a:ln>
        </p:spPr>
      </p:pic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FE26E39E-204C-4764-B455-D1985A6C0089}"/>
              </a:ext>
            </a:extLst>
          </p:cNvPr>
          <p:cNvSpPr/>
          <p:nvPr/>
        </p:nvSpPr>
        <p:spPr>
          <a:xfrm>
            <a:off x="4320636" y="2553904"/>
            <a:ext cx="707648" cy="41436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defTabSz="422041">
              <a:lnSpc>
                <a:spcPct val="90000"/>
              </a:lnSpc>
            </a:pPr>
            <a:r>
              <a:rPr lang="ru-RU" sz="1050" b="1" dirty="0" smtClean="0">
                <a:solidFill>
                  <a:schemeClr val="accent1"/>
                </a:solidFill>
                <a:latin typeface="VTB Group Book" panose="020B0503040504020204" pitchFamily="34" charset="-52"/>
              </a:rPr>
              <a:t>Шанхай</a:t>
            </a:r>
            <a:endParaRPr lang="ru-RU" sz="1050" b="1" dirty="0">
              <a:solidFill>
                <a:schemeClr val="accent1"/>
              </a:solidFill>
              <a:latin typeface="VTB Group Book" panose="020B0503040504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49418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68193" y="85884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9" name="Объект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8193" y="858840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Прямая соединительная линия 11"/>
          <p:cNvCxnSpPr/>
          <p:nvPr>
            <p:custDataLst>
              <p:tags r:id="rId3"/>
            </p:custDataLst>
          </p:nvPr>
        </p:nvCxnSpPr>
        <p:spPr>
          <a:xfrm>
            <a:off x="431371" y="664859"/>
            <a:ext cx="2970590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Изображение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827" y="-34611"/>
            <a:ext cx="1823811" cy="1045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31371" y="361313"/>
            <a:ext cx="9143452" cy="372525"/>
          </a:xfrm>
        </p:spPr>
        <p:txBody>
          <a:bodyPr>
            <a:no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ная информация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50194" y="1066424"/>
            <a:ext cx="8292975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dirty="0">
              <a:solidFill>
                <a:srgbClr val="002882"/>
              </a:solidFill>
            </a:endParaRPr>
          </a:p>
          <a:p>
            <a:r>
              <a:rPr lang="ru-RU" sz="2000" dirty="0">
                <a:solidFill>
                  <a:srgbClr val="002882"/>
                </a:solidFill>
              </a:rPr>
              <a:t>Сайт Банка:  </a:t>
            </a:r>
            <a:r>
              <a:rPr lang="en-US" sz="2000" dirty="0">
                <a:solidFill>
                  <a:srgbClr val="002882"/>
                </a:solidFill>
              </a:rPr>
              <a:t>https://</a:t>
            </a:r>
            <a:r>
              <a:rPr lang="en-US" sz="2000" dirty="0" smtClean="0">
                <a:solidFill>
                  <a:srgbClr val="002882"/>
                </a:solidFill>
              </a:rPr>
              <a:t>www.vtb.by</a:t>
            </a:r>
            <a:endParaRPr lang="ru-RU" sz="2000" dirty="0">
              <a:solidFill>
                <a:srgbClr val="002882"/>
              </a:solidFill>
            </a:endParaRPr>
          </a:p>
          <a:p>
            <a:endParaRPr lang="ru-RU" sz="2000" dirty="0">
              <a:solidFill>
                <a:srgbClr val="002882"/>
              </a:solidFill>
            </a:endParaRPr>
          </a:p>
          <a:p>
            <a:r>
              <a:rPr lang="ru-RU" sz="2000" dirty="0">
                <a:solidFill>
                  <a:srgbClr val="002882"/>
                </a:solidFill>
              </a:rPr>
              <a:t>Региональная дирекция </a:t>
            </a:r>
            <a:r>
              <a:rPr lang="ru-RU" sz="2000" dirty="0" smtClean="0">
                <a:solidFill>
                  <a:srgbClr val="002882"/>
                </a:solidFill>
              </a:rPr>
              <a:t>№ 200 </a:t>
            </a:r>
            <a:endParaRPr lang="ru-RU" sz="2000" dirty="0">
              <a:solidFill>
                <a:srgbClr val="002882"/>
              </a:solidFill>
            </a:endParaRPr>
          </a:p>
          <a:p>
            <a:r>
              <a:rPr lang="ru-RU" sz="2000" dirty="0">
                <a:solidFill>
                  <a:srgbClr val="002882"/>
                </a:solidFill>
              </a:rPr>
              <a:t>Адрес: </a:t>
            </a:r>
            <a:r>
              <a:rPr lang="ru-RU" sz="2000" dirty="0" smtClean="0">
                <a:solidFill>
                  <a:srgbClr val="002882"/>
                </a:solidFill>
              </a:rPr>
              <a:t>212030, </a:t>
            </a:r>
            <a:r>
              <a:rPr lang="ru-RU" sz="2000" dirty="0">
                <a:solidFill>
                  <a:srgbClr val="002882"/>
                </a:solidFill>
              </a:rPr>
              <a:t>г. </a:t>
            </a:r>
            <a:r>
              <a:rPr lang="ru-RU" sz="2000" dirty="0" smtClean="0">
                <a:solidFill>
                  <a:srgbClr val="002882"/>
                </a:solidFill>
              </a:rPr>
              <a:t>Могилев, ул. Ленинская,д.54</a:t>
            </a:r>
            <a:endParaRPr lang="ru-RU" sz="2000" dirty="0">
              <a:solidFill>
                <a:srgbClr val="002882"/>
              </a:solidFill>
            </a:endParaRPr>
          </a:p>
          <a:p>
            <a:r>
              <a:rPr lang="ru-RU" sz="2000" dirty="0">
                <a:solidFill>
                  <a:srgbClr val="002882"/>
                </a:solidFill>
              </a:rPr>
              <a:t>Тел. +375 </a:t>
            </a:r>
            <a:r>
              <a:rPr lang="ru-RU" sz="2000" dirty="0" smtClean="0">
                <a:solidFill>
                  <a:srgbClr val="002882"/>
                </a:solidFill>
              </a:rPr>
              <a:t>222 62 90 33</a:t>
            </a:r>
          </a:p>
          <a:p>
            <a:r>
              <a:rPr lang="ru-RU" sz="2000" dirty="0" smtClean="0">
                <a:solidFill>
                  <a:srgbClr val="002882"/>
                </a:solidFill>
              </a:rPr>
              <a:t>Моб. +375 29 500 </a:t>
            </a:r>
            <a:r>
              <a:rPr lang="ru-RU" sz="2000" dirty="0" smtClean="0">
                <a:solidFill>
                  <a:srgbClr val="002882"/>
                </a:solidFill>
              </a:rPr>
              <a:t>54 51, </a:t>
            </a:r>
            <a:r>
              <a:rPr lang="ru-RU" sz="2000" dirty="0" smtClean="0">
                <a:solidFill>
                  <a:srgbClr val="002882"/>
                </a:solidFill>
              </a:rPr>
              <a:t>+375 29 500 15 37, +375 29 500 15 79</a:t>
            </a:r>
          </a:p>
          <a:p>
            <a:endParaRPr lang="ru-RU" sz="2000" dirty="0" smtClean="0">
              <a:solidFill>
                <a:srgbClr val="002882"/>
              </a:solidFill>
            </a:endParaRPr>
          </a:p>
          <a:p>
            <a:endParaRPr lang="ru-RU" sz="2000" dirty="0" smtClean="0">
              <a:solidFill>
                <a:srgbClr val="002882"/>
              </a:solidFill>
            </a:endParaRPr>
          </a:p>
          <a:p>
            <a:endParaRPr lang="ru-RU" sz="2000" dirty="0">
              <a:solidFill>
                <a:srgbClr val="0028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278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PthAE50GbmYoR02q1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2Y4WE.N0i9TsXUOWDn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PthAE50GbmYoR02q1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2Y4WE.N0i9TsXUOWDn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PthAE50GbmYoR02q1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2Y4WE.N0i9TsXUOWDn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PthAE50GbmYoR02q1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2Y4WE.N0i9TsXUOWDn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Цвет 7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0A2896"/>
      </a:accent1>
      <a:accent2>
        <a:srgbClr val="00AAFF"/>
      </a:accent2>
      <a:accent3>
        <a:srgbClr val="F1CC56"/>
      </a:accent3>
      <a:accent4>
        <a:srgbClr val="78B397"/>
      </a:accent4>
      <a:accent5>
        <a:srgbClr val="D6E08D"/>
      </a:accent5>
      <a:accent6>
        <a:srgbClr val="EA6B50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Цвет 7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0A2896"/>
      </a:accent1>
      <a:accent2>
        <a:srgbClr val="00AAFF"/>
      </a:accent2>
      <a:accent3>
        <a:srgbClr val="F1CC56"/>
      </a:accent3>
      <a:accent4>
        <a:srgbClr val="78B397"/>
      </a:accent4>
      <a:accent5>
        <a:srgbClr val="D6E08D"/>
      </a:accent5>
      <a:accent6>
        <a:srgbClr val="EA6B50"/>
      </a:accent6>
      <a:hlink>
        <a:srgbClr val="00AAFF"/>
      </a:hlink>
      <a:folHlink>
        <a:srgbClr val="99DD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F3DC88E5D3EE543ACB5E42C65D9BFCF" ma:contentTypeVersion="0" ma:contentTypeDescription="Создание документа." ma:contentTypeScope="" ma:versionID="64a0b0ea0d160e8c1dc50b7b9da1ec8c">
  <xsd:schema xmlns:xsd="http://www.w3.org/2001/XMLSchema" xmlns:p="http://schemas.microsoft.com/office/2006/metadata/properties" targetNamespace="http://schemas.microsoft.com/office/2006/metadata/properties" ma:root="true" ma:fieldsID="53974d1da0c14f073d2cc649cae9f3e6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содержимого" ma:readOnly="true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702760-9581-4745-ACDF-972D031FF964}">
  <ds:schemaRefs>
    <ds:schemaRef ds:uri="http://www.w3.org/XML/1998/namespace"/>
    <ds:schemaRef ds:uri="http://purl.org/dc/terms/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CF3DC028-140D-4D9A-8201-EA84C53E88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3F51714D-C963-4B2D-80D7-E6B4194303A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021</TotalTime>
  <Words>472</Words>
  <Application>Microsoft Office PowerPoint</Application>
  <PresentationFormat>Широкоэкранный</PresentationFormat>
  <Paragraphs>59</Paragraphs>
  <Slides>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6" baseType="lpstr">
      <vt:lpstr>Arial</vt:lpstr>
      <vt:lpstr>Calibri</vt:lpstr>
      <vt:lpstr>VTB Group Book</vt:lpstr>
      <vt:lpstr>VTB Group Cond</vt:lpstr>
      <vt:lpstr>VTB Group Cond Bold</vt:lpstr>
      <vt:lpstr>VTB Group Cond Book</vt:lpstr>
      <vt:lpstr>VTB Group Cond Light</vt:lpstr>
      <vt:lpstr>VTB Group Light</vt:lpstr>
      <vt:lpstr>Тема Office</vt:lpstr>
      <vt:lpstr>2_Тема Office</vt:lpstr>
      <vt:lpstr>think-cell Slide</vt:lpstr>
      <vt:lpstr>Малый и средний бизнес</vt:lpstr>
      <vt:lpstr>О Банке</vt:lpstr>
      <vt:lpstr>Кредиты для бизнеса</vt:lpstr>
      <vt:lpstr>Трансграничные платежи КИТАЙ</vt:lpstr>
      <vt:lpstr>Контактная информ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Галанов Сергей Васильевич</cp:lastModifiedBy>
  <cp:revision>623</cp:revision>
  <cp:lastPrinted>2024-05-27T13:27:07Z</cp:lastPrinted>
  <dcterms:created xsi:type="dcterms:W3CDTF">2017-11-14T14:42:55Z</dcterms:created>
  <dcterms:modified xsi:type="dcterms:W3CDTF">2024-05-28T06:0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3DC88E5D3EE543ACB5E42C65D9BFCF</vt:lpwstr>
  </property>
</Properties>
</file>